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819" r:id="rId1"/>
    <p:sldMasterId id="2147483828" r:id="rId2"/>
  </p:sldMasterIdLst>
  <p:notesMasterIdLst>
    <p:notesMasterId r:id="rId14"/>
  </p:notesMasterIdLst>
  <p:handoutMasterIdLst>
    <p:handoutMasterId r:id="rId15"/>
  </p:handoutMasterIdLst>
  <p:sldIdLst>
    <p:sldId id="256" r:id="rId3"/>
    <p:sldId id="633" r:id="rId4"/>
    <p:sldId id="627" r:id="rId5"/>
    <p:sldId id="635" r:id="rId6"/>
    <p:sldId id="634" r:id="rId7"/>
    <p:sldId id="628" r:id="rId8"/>
    <p:sldId id="636" r:id="rId9"/>
    <p:sldId id="629" r:id="rId10"/>
    <p:sldId id="638" r:id="rId11"/>
    <p:sldId id="630" r:id="rId12"/>
    <p:sldId id="637" r:id="rId13"/>
  </p:sldIdLst>
  <p:sldSz cx="9144000" cy="6858000" type="screen4x3"/>
  <p:notesSz cx="7010400" cy="9296400"/>
  <p:custDataLst>
    <p:tags r:id="rId16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074">
          <p15:clr>
            <a:srgbClr val="A4A3A4"/>
          </p15:clr>
        </p15:guide>
        <p15:guide id="2" orient="horz" pos="866">
          <p15:clr>
            <a:srgbClr val="A4A3A4"/>
          </p15:clr>
        </p15:guide>
        <p15:guide id="3" orient="horz" pos="156">
          <p15:clr>
            <a:srgbClr val="A4A3A4"/>
          </p15:clr>
        </p15:guide>
        <p15:guide id="4" pos="248">
          <p15:clr>
            <a:srgbClr val="A4A3A4"/>
          </p15:clr>
        </p15:guide>
        <p15:guide id="5" pos="5505">
          <p15:clr>
            <a:srgbClr val="A4A3A4"/>
          </p15:clr>
        </p15:guide>
        <p15:guide id="6" pos="2778">
          <p15:clr>
            <a:srgbClr val="A4A3A4"/>
          </p15:clr>
        </p15:guide>
        <p15:guide id="7" pos="2987">
          <p15:clr>
            <a:srgbClr val="A4A3A4"/>
          </p15:clr>
        </p15:guide>
        <p15:guide id="8" orient="horz" pos="4150">
          <p15:clr>
            <a:srgbClr val="A4A3A4"/>
          </p15:clr>
        </p15:guide>
        <p15:guide id="9" orient="horz" pos="662">
          <p15:clr>
            <a:srgbClr val="A4A3A4"/>
          </p15:clr>
        </p15:guide>
        <p15:guide id="10" orient="horz" pos="132">
          <p15:clr>
            <a:srgbClr val="A4A3A4"/>
          </p15:clr>
        </p15:guide>
        <p15:guide id="11" orient="horz" pos="266">
          <p15:clr>
            <a:srgbClr val="A4A3A4"/>
          </p15:clr>
        </p15:guide>
        <p15:guide id="12" pos="5403">
          <p15:clr>
            <a:srgbClr val="A4A3A4"/>
          </p15:clr>
        </p15:guide>
        <p15:guide id="13" pos="2796">
          <p15:clr>
            <a:srgbClr val="A4A3A4"/>
          </p15:clr>
        </p15:guide>
        <p15:guide id="14" pos="2941">
          <p15:clr>
            <a:srgbClr val="A4A3A4"/>
          </p15:clr>
        </p15:guide>
        <p15:guide id="15" pos="351">
          <p15:clr>
            <a:srgbClr val="A4A3A4"/>
          </p15:clr>
        </p15:guide>
        <p15:guide id="16" pos="209">
          <p15:clr>
            <a:srgbClr val="A4A3A4"/>
          </p15:clr>
        </p15:guide>
        <p15:guide id="17" pos="554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5F5F5F"/>
    <a:srgbClr val="C25552"/>
    <a:srgbClr val="FFFF00"/>
    <a:srgbClr val="E60000"/>
    <a:srgbClr val="333333"/>
    <a:srgbClr val="999999"/>
    <a:srgbClr val="CBCBCB"/>
    <a:srgbClr val="00FF00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3267" autoAdjust="0"/>
    <p:restoredTop sz="90053" autoAdjust="0"/>
  </p:normalViewPr>
  <p:slideViewPr>
    <p:cSldViewPr snapToGrid="0" snapToObjects="1">
      <p:cViewPr varScale="1">
        <p:scale>
          <a:sx n="87" d="100"/>
          <a:sy n="87" d="100"/>
        </p:scale>
        <p:origin x="-1938" y="-84"/>
      </p:cViewPr>
      <p:guideLst>
        <p:guide orient="horz" pos="4026"/>
        <p:guide orient="horz" pos="873"/>
        <p:guide orient="horz" pos="156"/>
        <p:guide orient="horz" pos="4155"/>
        <p:guide orient="horz" pos="797"/>
        <p:guide orient="horz" pos="132"/>
        <p:guide orient="horz" pos="218"/>
        <p:guide pos="248"/>
        <p:guide pos="5505"/>
        <p:guide pos="2659"/>
        <p:guide pos="3515"/>
        <p:guide pos="5403"/>
        <p:guide pos="2796"/>
        <p:guide pos="2941"/>
        <p:guide pos="351"/>
        <p:guide pos="209"/>
        <p:guide pos="55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E61413-BEF4-4992-9060-ACA2C7532E71}" type="datetimeFigureOut">
              <a:rPr lang="en-US" smtClean="0"/>
              <a:t>Mar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103D92-FC54-49D8-B22F-23200A7FFF5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196518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2560" y="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 dirty="0"/>
          </a:p>
        </p:txBody>
      </p:sp>
      <p:sp>
        <p:nvSpPr>
          <p:cNvPr id="389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4720" y="4415790"/>
            <a:ext cx="5140960" cy="4183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158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2560" y="883158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95B168E-2D4F-4C34-B0B9-704A69CF462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06263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ＭＳ Ｐゴシック" pitchFamily="-112" charset="-128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ＭＳ Ｐゴシック" pitchFamily="-112" charset="-128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ＭＳ Ｐゴシック" pitchFamily="-112" charset="-128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ＭＳ Ｐゴシック" pitchFamily="-112" charset="-128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99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6179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31788" y="2802939"/>
            <a:ext cx="1705992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ES" dirty="0">
              <a:ln w="9525" cmpd="sng">
                <a:solidFill>
                  <a:schemeClr val="tx1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20400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331788" y="-2514783"/>
            <a:ext cx="8469312" cy="0"/>
          </a:xfrm>
          <a:prstGeom prst="line">
            <a:avLst/>
          </a:prstGeom>
          <a:ln w="12700" cmpd="sng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149015" y="99783"/>
            <a:ext cx="869950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7" y="646792"/>
            <a:ext cx="8461375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78636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n610821\Desktop\sant-MReg_positivo_RGB.300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6597" y="3084463"/>
            <a:ext cx="1724479" cy="502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31299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51249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7010400" y="6592432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baseline="30000" dirty="0">
                <a:solidFill>
                  <a:schemeClr val="tx1"/>
                </a:solidFill>
              </a:rPr>
              <a:t>Proprietary &amp; Confidential</a:t>
            </a:r>
            <a:endParaRPr lang="en-US" sz="1500" b="1" dirty="0">
              <a:solidFill>
                <a:schemeClr val="tx1"/>
              </a:solidFill>
            </a:endParaRPr>
          </a:p>
        </p:txBody>
      </p:sp>
      <p:pic>
        <p:nvPicPr>
          <p:cNvPr id="1026" name="Picture 2" descr="C:\Users\n610821\Desktop\sant-MReg_positivo_RGB.300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0400" y="6126759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245957" y="6321262"/>
            <a:ext cx="1747658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500" b="1" baseline="30000" dirty="0" smtClean="0">
                <a:solidFill>
                  <a:schemeClr val="tx1"/>
                </a:solidFill>
              </a:rPr>
              <a:t>Santander Holdings USA</a:t>
            </a:r>
            <a:r>
              <a:rPr lang="en-US" sz="1500" b="1" baseline="0" dirty="0" smtClean="0">
                <a:solidFill>
                  <a:schemeClr val="tx1"/>
                </a:solidFill>
              </a:rPr>
              <a:t> </a:t>
            </a:r>
            <a:endParaRPr lang="en-US" sz="15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329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3" r:id="rId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1992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tags" Target="../tags/tag40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tags" Target="../tags/tag30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62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61" Type="http://schemas.openxmlformats.org/officeDocument/2006/relationships/oleObject" Target="../embeddings/oleObject2.bin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slideLayout" Target="../slideLayouts/slideLayout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56" Type="http://schemas.openxmlformats.org/officeDocument/2006/relationships/tags" Target="../tags/tag57.xml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3" Type="http://schemas.openxmlformats.org/officeDocument/2006/relationships/tags" Target="../tags/tag4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tags" Target="../tags/tag6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338931" y="2963670"/>
            <a:ext cx="8142287" cy="350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fontAlgn="auto">
              <a:lnSpc>
                <a:spcPts val="2700"/>
              </a:lnSpc>
              <a:spcAft>
                <a:spcPts val="600"/>
              </a:spcAft>
            </a:pPr>
            <a:r>
              <a:rPr lang="en-US" b="1" dirty="0" smtClean="0">
                <a:solidFill>
                  <a:srgbClr val="FF0000"/>
                </a:solidFill>
                <a:latin typeface="Arial"/>
                <a:cs typeface="Arial"/>
              </a:rPr>
              <a:t>Risk Appetite Statement – Recalibration Support</a:t>
            </a:r>
            <a:endParaRPr lang="en-US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338931" y="3313765"/>
            <a:ext cx="8142287" cy="318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Kick-off</a:t>
            </a:r>
            <a:endParaRPr lang="en-US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4000" y="248488"/>
            <a:ext cx="889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Potential methods for tracking for strategic risk</a:t>
            </a:r>
            <a:endParaRPr lang="en-US" sz="2000" b="1" dirty="0"/>
          </a:p>
        </p:txBody>
      </p:sp>
      <p:graphicFrame>
        <p:nvGraphicFramePr>
          <p:cNvPr id="3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8385139"/>
              </p:ext>
            </p:extLst>
          </p:nvPr>
        </p:nvGraphicFramePr>
        <p:xfrm>
          <a:off x="393696" y="1100588"/>
          <a:ext cx="8407403" cy="3993927"/>
        </p:xfrm>
        <a:graphic>
          <a:graphicData uri="http://schemas.openxmlformats.org/drawingml/2006/table">
            <a:tbl>
              <a:tblPr firstRow="1" bandRow="1"/>
              <a:tblGrid>
                <a:gridCol w="2131790"/>
                <a:gridCol w="2122714"/>
                <a:gridCol w="4152899"/>
              </a:tblGrid>
              <a:tr h="299759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ntifying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</a:t>
                      </a:r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tegic risk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mple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ents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99598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-resiliency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NR impairmen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ss</a:t>
                      </a:r>
                      <a:r>
                        <a:rPr lang="en-GB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 stress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1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gacy and new metrics requested by Group – are these truly strategic risk indicators?</a:t>
                      </a:r>
                      <a:endParaRPr lang="en-GB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49477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centration metrics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USA subprime assets / SHUSA credit exposure (%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exposure</a:t>
                      </a:r>
                      <a:r>
                        <a:rPr lang="en-GB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AuM</a:t>
                      </a:r>
                      <a:endParaRPr lang="en-GB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dirty="0" smtClean="0">
                        <a:solidFill>
                          <a:schemeClr val="bg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81517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her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</a:t>
                      </a:r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tal metrics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1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stream dividends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1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de</a:t>
                      </a:r>
                      <a:r>
                        <a:rPr lang="en-GB" sz="11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binary view of Entity ability to upstream cash flows (based on revenue streams and/or regulatory approval)</a:t>
                      </a:r>
                      <a:endParaRPr lang="en-GB" sz="11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81517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-based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spend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dget tracking</a:t>
                      </a:r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1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 link to  the strategic</a:t>
                      </a:r>
                      <a:r>
                        <a:rPr lang="en-GB" sz="11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lan and progress against it</a:t>
                      </a:r>
                      <a:endParaRPr lang="en-GB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66291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rm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atings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1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bt ratings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1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ternal assessment of internal performance; potentially duplicative of long term credit ratings currently reported to </a:t>
                      </a:r>
                      <a:r>
                        <a:rPr lang="en-GB" sz="1100" b="0" i="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D</a:t>
                      </a:r>
                      <a:endParaRPr lang="en-GB" sz="11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49477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turn-related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TE, RORWA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wth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arnings</a:t>
                      </a:r>
                      <a:r>
                        <a:rPr lang="en-GB" sz="11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olatility </a:t>
                      </a:r>
                      <a:endParaRPr lang="en-GB" sz="11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1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orporating</a:t>
                      </a:r>
                      <a:r>
                        <a:rPr lang="en-GB" sz="11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ofit/revenue performance metrics may confound and distract from focus on firm’s risk appetite</a:t>
                      </a:r>
                      <a:endParaRPr lang="en-GB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66291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ternal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croeconomic</a:t>
                      </a:r>
                      <a:r>
                        <a:rPr lang="en-GB" sz="11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actor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DS spreads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1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relevant to strategic</a:t>
                      </a:r>
                      <a:r>
                        <a:rPr lang="en-GB" sz="11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lan and not applicable to internal accountability </a:t>
                      </a:r>
                      <a:endParaRPr lang="en-GB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1863255"/>
              </p:ext>
            </p:extLst>
          </p:nvPr>
        </p:nvGraphicFramePr>
        <p:xfrm>
          <a:off x="7663542" y="1078816"/>
          <a:ext cx="1137557" cy="243840"/>
        </p:xfrm>
        <a:graphic>
          <a:graphicData uri="http://schemas.openxmlformats.org/drawingml/2006/table">
            <a:tbl>
              <a:tblPr firstRow="1" bandRow="1"/>
              <a:tblGrid>
                <a:gridCol w="1137557"/>
              </a:tblGrid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GB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rrent metrics</a:t>
                      </a:r>
                      <a:endParaRPr lang="en-GB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Conclusion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8677906"/>
              </p:ext>
            </p:extLst>
          </p:nvPr>
        </p:nvGraphicFramePr>
        <p:xfrm>
          <a:off x="331788" y="5298097"/>
          <a:ext cx="8469312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9312"/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kumimoji="0" lang="en-GB" sz="1800" b="0" i="0" u="none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+mj-lt"/>
                        </a:rPr>
                        <a:t>What is the goal of the strategic risk metrics? How are they differentiated from the goals of strategic planning and Finance? Would this be best captured in a qualitative assessment?</a:t>
                      </a:r>
                      <a:endParaRPr kumimoji="0" lang="en-GB" sz="1800" b="0" i="0" u="none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+mj-lt"/>
                      </a:endParaRPr>
                    </a:p>
                  </a:txBody>
                  <a:tcPr anchor="b">
                    <a:lnL w="12700" cmpd="sng">
                      <a:solidFill>
                        <a:schemeClr val="lt1"/>
                      </a:solidFill>
                    </a:lnL>
                    <a:lnR w="12700" cmpd="sng">
                      <a:solidFill>
                        <a:schemeClr val="lt1"/>
                      </a:solidFill>
                    </a:lnR>
                    <a:lnT w="9525" cmpd="sng">
                      <a:solidFill>
                        <a:schemeClr val="accent4"/>
                      </a:solidFill>
                    </a:lnT>
                    <a:lnB w="9525" cmpd="sng">
                      <a:solidFill>
                        <a:schemeClr val="accent4"/>
                      </a:solidFill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8266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15912" y="1145492"/>
            <a:ext cx="8245475" cy="11798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en-US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open questions</a:t>
            </a:r>
          </a:p>
          <a:p>
            <a:pPr marL="285750" lvl="1" indent="-285750"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e BHC now uses an FRB scenario for baseline, should we rethink </a:t>
            </a:r>
            <a:r>
              <a:rPr lang="en-US" sz="1600" dirty="0" smtClean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of BHC scenario for calibration?</a:t>
            </a:r>
            <a:endParaRPr lang="en-US" sz="16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methodology decisions TBD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54000" y="248488"/>
            <a:ext cx="889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Open questions &amp; next steps</a:t>
            </a:r>
            <a:endParaRPr lang="en-US" sz="2000" b="1" dirty="0"/>
          </a:p>
        </p:txBody>
      </p:sp>
      <p:sp>
        <p:nvSpPr>
          <p:cNvPr id="6" name="Rectangle 5"/>
          <p:cNvSpPr/>
          <p:nvPr/>
        </p:nvSpPr>
        <p:spPr>
          <a:xfrm>
            <a:off x="310016" y="2659784"/>
            <a:ext cx="8245475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en-US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 steps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ther and update outstanding internal data (historical and CCAR) as available based on timelines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pare excel recalibrations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ew outstanding methodology questions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rporate </a:t>
            </a:r>
            <a:r>
              <a:rPr lang="en-US" sz="1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c planning </a:t>
            </a:r>
            <a:r>
              <a:rPr lang="en-US" sz="1600" i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latest version available?)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ew list of metrics with John/Sarah to incorporate feedback from Board </a:t>
            </a:r>
            <a:r>
              <a:rPr lang="en-US" sz="1600" i="1" dirty="0" smtClean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has Beatrice already done this?)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weekly </a:t>
            </a:r>
            <a:r>
              <a:rPr lang="en-US" sz="1600" dirty="0" smtClean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s</a:t>
            </a:r>
            <a:endParaRPr lang="en-US" sz="16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331788" y="2492543"/>
            <a:ext cx="8469312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9184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4000" y="248488"/>
            <a:ext cx="889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Agenda</a:t>
            </a:r>
            <a:endParaRPr lang="en-US" sz="20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557213" y="1357392"/>
            <a:ext cx="3480440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spcAft>
                <a:spcPts val="400"/>
              </a:spcAft>
              <a:buFont typeface="+mj-lt"/>
              <a:buAutoNum type="arabicPeriod"/>
            </a:pPr>
            <a:r>
              <a:rPr lang="en-GB" sz="1800" dirty="0" smtClean="0"/>
              <a:t>Timeline &amp; stakeholders</a:t>
            </a:r>
          </a:p>
          <a:p>
            <a:pPr marL="342900" indent="-342900">
              <a:spcAft>
                <a:spcPts val="400"/>
              </a:spcAft>
              <a:buFont typeface="+mj-lt"/>
              <a:buAutoNum type="arabicPeriod"/>
            </a:pPr>
            <a:r>
              <a:rPr lang="en-GB" sz="1800" dirty="0" smtClean="0"/>
              <a:t>2016 RAS metrics</a:t>
            </a:r>
          </a:p>
          <a:p>
            <a:pPr marL="342900" indent="-342900">
              <a:spcAft>
                <a:spcPts val="400"/>
              </a:spcAft>
              <a:buFont typeface="+mj-lt"/>
              <a:buAutoNum type="arabicPeriod"/>
            </a:pPr>
            <a:r>
              <a:rPr lang="en-GB" sz="1800" dirty="0" smtClean="0"/>
              <a:t>Tracking strategic risk</a:t>
            </a:r>
          </a:p>
          <a:p>
            <a:pPr marL="342900" indent="-342900">
              <a:spcAft>
                <a:spcPts val="400"/>
              </a:spcAft>
              <a:buFont typeface="+mj-lt"/>
              <a:buAutoNum type="arabicPeriod"/>
            </a:pPr>
            <a:r>
              <a:rPr lang="en-GB" sz="1800" dirty="0" smtClean="0"/>
              <a:t>Open questions &amp; next steps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2068131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Object 6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1774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" name="think-cell Slide" r:id="rId61" imgW="270" imgH="270" progId="TCLayout.ActiveDocument.1">
                  <p:embed/>
                </p:oleObj>
              </mc:Choice>
              <mc:Fallback>
                <p:oleObj name="think-cell Slide" r:id="rId6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1200" b="1">
              <a:latin typeface="Arial"/>
              <a:cs typeface="Arial"/>
              <a:sym typeface="Arial"/>
            </a:endParaRPr>
          </a:p>
        </p:txBody>
      </p:sp>
      <p:sp>
        <p:nvSpPr>
          <p:cNvPr id="34" name="Text Placeholder 3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217987" y="1350962"/>
            <a:ext cx="306388" cy="230188"/>
          </a:xfrm>
          <a:prstGeom prst="rect">
            <a:avLst/>
          </a:prstGeom>
          <a:solidFill>
            <a:schemeClr val="bg1"/>
          </a:solidFill>
          <a:ln w="9525">
            <a:solidFill>
              <a:srgbClr val="606060"/>
            </a:solidFill>
          </a:ln>
        </p:spPr>
        <p:txBody>
          <a:bodyPr wrap="none" lIns="0" tIns="23813" rIns="0" bIns="23813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8289946-12DE-4D44-9154-57A004613FAE}" type="datetime'''''''''M''''''''''a''r'''''''''''''''''''''''''''''''''">
              <a:rPr lang="en-US" sz="1200" b="1">
                <a:latin typeface="Arial"/>
                <a:cs typeface="Arial"/>
                <a:sym typeface="Arial"/>
              </a:rPr>
              <a:pPr/>
              <a:t>Mar</a:t>
            </a:fld>
            <a:endParaRPr lang="en-GB" sz="1200" b="1" dirty="0">
              <a:latin typeface="Arial"/>
              <a:cs typeface="Arial"/>
              <a:sym typeface="Arial"/>
            </a:endParaRPr>
          </a:p>
        </p:txBody>
      </p:sp>
      <p:sp>
        <p:nvSpPr>
          <p:cNvPr id="35" name="Text Placeholder 3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524375" y="1350962"/>
            <a:ext cx="1838325" cy="230188"/>
          </a:xfrm>
          <a:prstGeom prst="rect">
            <a:avLst/>
          </a:prstGeom>
          <a:solidFill>
            <a:schemeClr val="bg1"/>
          </a:solidFill>
          <a:ln w="9525">
            <a:solidFill>
              <a:srgbClr val="606060"/>
            </a:solidFill>
          </a:ln>
        </p:spPr>
        <p:txBody>
          <a:bodyPr wrap="none" lIns="0" tIns="23813" rIns="0" bIns="23813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41FE393-8C75-4A4B-B559-BC64747049AF}" type="datetime'''''''''''''''''''''''''A''p''''''''''''''''''''''r'''''''''">
              <a:rPr lang="en-US" sz="1200" b="1">
                <a:latin typeface="Arial"/>
                <a:cs typeface="Arial"/>
                <a:sym typeface="Arial"/>
              </a:rPr>
              <a:pPr marL="0" indent="0" algn="ctr">
                <a:spcBef>
                  <a:spcPct val="0"/>
                </a:spcBef>
                <a:buNone/>
              </a:pPr>
              <a:t>Apr</a:t>
            </a:fld>
            <a:endParaRPr lang="en-GB" sz="1200" b="1" dirty="0">
              <a:latin typeface="Arial"/>
              <a:cs typeface="Arial"/>
              <a:sym typeface="Arial"/>
            </a:endParaRPr>
          </a:p>
        </p:txBody>
      </p:sp>
      <p:sp>
        <p:nvSpPr>
          <p:cNvPr id="36" name="Text Placeholder 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362700" y="1350962"/>
            <a:ext cx="1898650" cy="230188"/>
          </a:xfrm>
          <a:prstGeom prst="rect">
            <a:avLst/>
          </a:prstGeom>
          <a:solidFill>
            <a:schemeClr val="bg1"/>
          </a:solidFill>
          <a:ln w="9525">
            <a:solidFill>
              <a:srgbClr val="606060"/>
            </a:solidFill>
          </a:ln>
        </p:spPr>
        <p:txBody>
          <a:bodyPr wrap="none" lIns="0" tIns="23813" rIns="0" bIns="23813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345ECDB-A7D3-4F78-9E0A-B84BF6727DF7}" type="datetime'''''''''''''''''M''''''''''''''''''''a''''''y'''">
              <a:rPr lang="en-US" sz="1200" b="1">
                <a:latin typeface="Arial"/>
                <a:cs typeface="Arial"/>
                <a:sym typeface="Arial"/>
              </a:rPr>
              <a:pPr marL="0" indent="0" algn="ctr">
                <a:spcBef>
                  <a:spcPct val="0"/>
                </a:spcBef>
                <a:buNone/>
              </a:pPr>
              <a:t>May</a:t>
            </a:fld>
            <a:endParaRPr lang="en-GB" sz="1200" b="1" dirty="0">
              <a:latin typeface="Arial"/>
              <a:cs typeface="Arial"/>
              <a:sym typeface="Arial"/>
            </a:endParaRPr>
          </a:p>
        </p:txBody>
      </p:sp>
      <p:sp>
        <p:nvSpPr>
          <p:cNvPr id="79" name="Text Placeholder 3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261350" y="1350962"/>
            <a:ext cx="244475" cy="230188"/>
          </a:xfrm>
          <a:prstGeom prst="rect">
            <a:avLst/>
          </a:prstGeom>
          <a:solidFill>
            <a:schemeClr val="bg1"/>
          </a:solidFill>
          <a:ln w="9525">
            <a:solidFill>
              <a:srgbClr val="606060"/>
            </a:solidFill>
          </a:ln>
        </p:spPr>
        <p:txBody>
          <a:bodyPr wrap="none" lIns="0" tIns="23813" rIns="0" bIns="23813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endParaRPr lang="en-GB" sz="1200" b="1" dirty="0">
              <a:latin typeface="Arial"/>
              <a:cs typeface="Arial"/>
              <a:sym typeface="Arial"/>
            </a:endParaRPr>
          </a:p>
        </p:txBody>
      </p:sp>
      <p:sp>
        <p:nvSpPr>
          <p:cNvPr id="24" name="Text Placeholder 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217987" y="1581150"/>
            <a:ext cx="428625" cy="230188"/>
          </a:xfrm>
          <a:prstGeom prst="rect">
            <a:avLst/>
          </a:prstGeom>
          <a:solidFill>
            <a:schemeClr val="bg1"/>
          </a:solidFill>
          <a:ln w="9525">
            <a:solidFill>
              <a:srgbClr val="606060"/>
            </a:solidFill>
          </a:ln>
        </p:spPr>
        <p:txBody>
          <a:bodyPr wrap="none" lIns="0" tIns="23813" rIns="0" bIns="23813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FE4BA74-B4E2-4BAB-90E8-BA9ED29E2DBD}" type="datetime'''''''''''2''''7''''.'''''''''''''''''''">
              <a:rPr lang="en-US" sz="1200" b="1" smtClean="0">
                <a:latin typeface="Arial"/>
                <a:cs typeface="Arial"/>
                <a:sym typeface="Arial"/>
              </a:rPr>
              <a:pPr marL="0" indent="0" algn="ctr">
                <a:spcBef>
                  <a:spcPct val="0"/>
                </a:spcBef>
                <a:buNone/>
              </a:pPr>
              <a:t>27.</a:t>
            </a:fld>
            <a:endParaRPr lang="en-GB" sz="1200" b="1" dirty="0">
              <a:latin typeface="Arial"/>
              <a:cs typeface="Arial"/>
              <a:sym typeface="Arial"/>
            </a:endParaRPr>
          </a:p>
        </p:txBody>
      </p:sp>
      <p:sp>
        <p:nvSpPr>
          <p:cNvPr id="25" name="Text Placeholder 3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646613" y="1581150"/>
            <a:ext cx="428625" cy="230188"/>
          </a:xfrm>
          <a:prstGeom prst="rect">
            <a:avLst/>
          </a:prstGeom>
          <a:solidFill>
            <a:schemeClr val="bg1"/>
          </a:solidFill>
          <a:ln w="9525">
            <a:solidFill>
              <a:srgbClr val="606060"/>
            </a:solidFill>
          </a:ln>
        </p:spPr>
        <p:txBody>
          <a:bodyPr wrap="none" lIns="0" tIns="23813" rIns="0" bIns="23813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B138E4E-3B46-4E9A-84C3-EDF86E44B005}" type="datetime'''''''03''''''''''''''''''.'''''''''''''">
              <a:rPr lang="en-US" sz="1200" b="1">
                <a:latin typeface="Arial"/>
                <a:cs typeface="Arial"/>
                <a:sym typeface="Arial"/>
              </a:rPr>
              <a:pPr marL="0" indent="0" algn="ctr">
                <a:spcBef>
                  <a:spcPct val="0"/>
                </a:spcBef>
                <a:buNone/>
              </a:pPr>
              <a:t>03.</a:t>
            </a:fld>
            <a:endParaRPr lang="en-GB" sz="1200" b="1" dirty="0">
              <a:latin typeface="Arial"/>
              <a:cs typeface="Arial"/>
              <a:sym typeface="Arial"/>
            </a:endParaRPr>
          </a:p>
        </p:txBody>
      </p:sp>
      <p:sp>
        <p:nvSpPr>
          <p:cNvPr id="26" name="Text Placeholder 3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075238" y="1581150"/>
            <a:ext cx="428625" cy="230188"/>
          </a:xfrm>
          <a:prstGeom prst="rect">
            <a:avLst/>
          </a:prstGeom>
          <a:solidFill>
            <a:schemeClr val="bg1"/>
          </a:solidFill>
          <a:ln w="9525">
            <a:solidFill>
              <a:srgbClr val="606060"/>
            </a:solidFill>
          </a:ln>
        </p:spPr>
        <p:txBody>
          <a:bodyPr wrap="none" lIns="0" tIns="23813" rIns="0" bIns="23813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1E10580-8117-47EB-A52E-A89BF58093C8}" type="datetime'''''''''''''''''''''''''''1''0''.'''''''''''''''''''">
              <a:rPr lang="en-US" sz="1200" b="1">
                <a:latin typeface="Arial"/>
                <a:cs typeface="Arial"/>
                <a:sym typeface="Arial"/>
              </a:rPr>
              <a:pPr marL="0" indent="0" algn="ctr">
                <a:spcBef>
                  <a:spcPct val="0"/>
                </a:spcBef>
                <a:buNone/>
              </a:pPr>
              <a:t>10.</a:t>
            </a:fld>
            <a:endParaRPr lang="en-GB" sz="1200" b="1" dirty="0">
              <a:latin typeface="Arial"/>
              <a:cs typeface="Arial"/>
              <a:sym typeface="Arial"/>
            </a:endParaRPr>
          </a:p>
        </p:txBody>
      </p:sp>
      <p:sp>
        <p:nvSpPr>
          <p:cNvPr id="27" name="Text Placeholder 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503863" y="1581150"/>
            <a:ext cx="428625" cy="230188"/>
          </a:xfrm>
          <a:prstGeom prst="rect">
            <a:avLst/>
          </a:prstGeom>
          <a:solidFill>
            <a:schemeClr val="bg1"/>
          </a:solidFill>
          <a:ln w="9525">
            <a:solidFill>
              <a:srgbClr val="606060"/>
            </a:solidFill>
          </a:ln>
        </p:spPr>
        <p:txBody>
          <a:bodyPr wrap="none" lIns="0" tIns="23813" rIns="0" bIns="23813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98B46FF-0F41-4118-A2A0-557595E9065D}" type="datetime'''''''''''''''''''''''''''''''''''''''''''''''1''''''7.'''">
              <a:rPr lang="en-US" sz="1200" b="1">
                <a:latin typeface="Arial"/>
                <a:cs typeface="Arial"/>
                <a:sym typeface="Arial"/>
              </a:rPr>
              <a:pPr marL="0" indent="0" algn="ctr">
                <a:spcBef>
                  <a:spcPct val="0"/>
                </a:spcBef>
                <a:buNone/>
              </a:pPr>
              <a:t>17.</a:t>
            </a:fld>
            <a:endParaRPr lang="en-GB" sz="1200" b="1" dirty="0">
              <a:latin typeface="Arial"/>
              <a:cs typeface="Arial"/>
              <a:sym typeface="Arial"/>
            </a:endParaRPr>
          </a:p>
        </p:txBody>
      </p:sp>
      <p:sp>
        <p:nvSpPr>
          <p:cNvPr id="28" name="Text Placeholder 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932488" y="1581150"/>
            <a:ext cx="430213" cy="230188"/>
          </a:xfrm>
          <a:prstGeom prst="rect">
            <a:avLst/>
          </a:prstGeom>
          <a:solidFill>
            <a:schemeClr val="bg1"/>
          </a:solidFill>
          <a:ln w="9525">
            <a:solidFill>
              <a:srgbClr val="606060"/>
            </a:solidFill>
          </a:ln>
        </p:spPr>
        <p:txBody>
          <a:bodyPr wrap="none" lIns="0" tIns="23813" rIns="0" bIns="23813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057EDB1-565B-4B65-BED9-EF90C61CB595}" type="datetime'''''''''''''''''''''2''''''''''''''4''''''.'''''''''''''''''">
              <a:rPr lang="en-US" sz="1200" b="1">
                <a:latin typeface="Arial"/>
                <a:cs typeface="Arial"/>
                <a:sym typeface="Arial"/>
              </a:rPr>
              <a:pPr marL="0" indent="0" algn="ctr">
                <a:spcBef>
                  <a:spcPct val="0"/>
                </a:spcBef>
                <a:buNone/>
              </a:pPr>
              <a:t>24.</a:t>
            </a:fld>
            <a:endParaRPr lang="en-GB" sz="1200" b="1" dirty="0">
              <a:latin typeface="Arial"/>
              <a:cs typeface="Arial"/>
              <a:sym typeface="Arial"/>
            </a:endParaRPr>
          </a:p>
        </p:txBody>
      </p:sp>
      <p:sp>
        <p:nvSpPr>
          <p:cNvPr id="29" name="Text Placeholder 3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362700" y="1581150"/>
            <a:ext cx="428625" cy="230188"/>
          </a:xfrm>
          <a:prstGeom prst="rect">
            <a:avLst/>
          </a:prstGeom>
          <a:solidFill>
            <a:schemeClr val="bg1"/>
          </a:solidFill>
          <a:ln w="9525">
            <a:solidFill>
              <a:srgbClr val="606060"/>
            </a:solidFill>
          </a:ln>
        </p:spPr>
        <p:txBody>
          <a:bodyPr wrap="none" lIns="0" tIns="23813" rIns="0" bIns="23813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AD94EBC-CD01-417F-BD79-AE0704DA9AEA}" type="datetime'''''''''''''0''''1''''''''''''''''''.'">
              <a:rPr lang="en-US" sz="1200" b="1">
                <a:latin typeface="Arial"/>
                <a:cs typeface="Arial"/>
                <a:sym typeface="Arial"/>
              </a:rPr>
              <a:pPr marL="0" indent="0" algn="ctr">
                <a:spcBef>
                  <a:spcPct val="0"/>
                </a:spcBef>
                <a:buNone/>
              </a:pPr>
              <a:t>01.</a:t>
            </a:fld>
            <a:endParaRPr lang="en-GB" sz="1200" b="1" dirty="0">
              <a:latin typeface="Arial"/>
              <a:cs typeface="Arial"/>
              <a:sym typeface="Arial"/>
            </a:endParaRPr>
          </a:p>
        </p:txBody>
      </p:sp>
      <p:sp>
        <p:nvSpPr>
          <p:cNvPr id="30" name="Text Placeholder 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791325" y="1581150"/>
            <a:ext cx="428625" cy="230188"/>
          </a:xfrm>
          <a:prstGeom prst="rect">
            <a:avLst/>
          </a:prstGeom>
          <a:solidFill>
            <a:schemeClr val="bg1"/>
          </a:solidFill>
          <a:ln w="9525">
            <a:solidFill>
              <a:srgbClr val="606060"/>
            </a:solidFill>
          </a:ln>
        </p:spPr>
        <p:txBody>
          <a:bodyPr wrap="none" lIns="0" tIns="23813" rIns="0" bIns="23813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77B6DC6-77D2-42EC-A00B-5619E0594506}" type="datetime'''''''''''''''''''''''''''''''''''''''''08''''''''''.'''''''''">
              <a:rPr lang="en-US" sz="1200" b="1">
                <a:latin typeface="Arial"/>
                <a:cs typeface="Arial"/>
                <a:sym typeface="Arial"/>
              </a:rPr>
              <a:pPr marL="0" indent="0" algn="ctr">
                <a:spcBef>
                  <a:spcPct val="0"/>
                </a:spcBef>
                <a:buNone/>
              </a:pPr>
              <a:t>08.</a:t>
            </a:fld>
            <a:endParaRPr lang="en-GB" sz="1200" b="1" dirty="0">
              <a:latin typeface="Arial"/>
              <a:cs typeface="Arial"/>
              <a:sym typeface="Arial"/>
            </a:endParaRPr>
          </a:p>
        </p:txBody>
      </p:sp>
      <p:sp>
        <p:nvSpPr>
          <p:cNvPr id="31" name="Text Placeholder 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219950" y="1581150"/>
            <a:ext cx="428625" cy="230188"/>
          </a:xfrm>
          <a:prstGeom prst="rect">
            <a:avLst/>
          </a:prstGeom>
          <a:solidFill>
            <a:schemeClr val="bg1"/>
          </a:solidFill>
          <a:ln w="9525">
            <a:solidFill>
              <a:srgbClr val="606060"/>
            </a:solidFill>
          </a:ln>
        </p:spPr>
        <p:txBody>
          <a:bodyPr wrap="none" lIns="0" tIns="23813" rIns="0" bIns="23813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1F2C755-4633-4CD4-9DD5-A256DDEB9642}" type="datetime'''''''''''''1''''''''''''''''''''''''''''''5''''''.'''''''''">
              <a:rPr lang="en-US" sz="1200" b="1">
                <a:latin typeface="Arial"/>
                <a:cs typeface="Arial"/>
                <a:sym typeface="Arial"/>
              </a:rPr>
              <a:pPr marL="0" indent="0" algn="ctr">
                <a:spcBef>
                  <a:spcPct val="0"/>
                </a:spcBef>
                <a:buNone/>
              </a:pPr>
              <a:t>15.</a:t>
            </a:fld>
            <a:endParaRPr lang="en-GB" sz="1200" b="1" dirty="0">
              <a:latin typeface="Arial"/>
              <a:cs typeface="Arial"/>
              <a:sym typeface="Arial"/>
            </a:endParaRPr>
          </a:p>
        </p:txBody>
      </p:sp>
      <p:sp>
        <p:nvSpPr>
          <p:cNvPr id="32" name="Text Placeholder 3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648575" y="1581150"/>
            <a:ext cx="428625" cy="230188"/>
          </a:xfrm>
          <a:prstGeom prst="rect">
            <a:avLst/>
          </a:prstGeom>
          <a:solidFill>
            <a:schemeClr val="bg1"/>
          </a:solidFill>
          <a:ln w="9525">
            <a:solidFill>
              <a:srgbClr val="606060"/>
            </a:solidFill>
          </a:ln>
        </p:spPr>
        <p:txBody>
          <a:bodyPr wrap="none" lIns="0" tIns="23813" rIns="0" bIns="23813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120335F-E34A-4BFA-9BA0-28D70DAF9E75}" type="datetime'''2''''''''2''''''''''''.'''''''''''''''''''''''">
              <a:rPr lang="en-US" sz="1200" b="1">
                <a:latin typeface="Arial"/>
                <a:cs typeface="Arial"/>
                <a:sym typeface="Arial"/>
              </a:rPr>
              <a:pPr marL="0" indent="0" algn="ctr">
                <a:spcBef>
                  <a:spcPct val="0"/>
                </a:spcBef>
                <a:buNone/>
              </a:pPr>
              <a:t>22.</a:t>
            </a:fld>
            <a:endParaRPr lang="en-GB" sz="1200" b="1" dirty="0">
              <a:latin typeface="Arial"/>
              <a:cs typeface="Arial"/>
              <a:sym typeface="Arial"/>
            </a:endParaRPr>
          </a:p>
        </p:txBody>
      </p:sp>
      <p:sp>
        <p:nvSpPr>
          <p:cNvPr id="33" name="Text Placeholder 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077200" y="1581150"/>
            <a:ext cx="428625" cy="230188"/>
          </a:xfrm>
          <a:prstGeom prst="rect">
            <a:avLst/>
          </a:prstGeom>
          <a:solidFill>
            <a:schemeClr val="bg1"/>
          </a:solidFill>
          <a:ln w="9525">
            <a:solidFill>
              <a:srgbClr val="606060"/>
            </a:solidFill>
          </a:ln>
        </p:spPr>
        <p:txBody>
          <a:bodyPr wrap="none" lIns="0" tIns="23813" rIns="0" bIns="23813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9EA7601-F14D-487C-9C56-571A9ED90399}" type="datetime'''''''''''''''2''''''''''''9''''''.'''''''''''''''''''">
              <a:rPr lang="en-US" sz="1200" b="1">
                <a:latin typeface="Arial"/>
                <a:cs typeface="Arial"/>
                <a:sym typeface="Arial"/>
              </a:rPr>
              <a:pPr marL="0" indent="0" algn="ctr">
                <a:spcBef>
                  <a:spcPct val="0"/>
                </a:spcBef>
                <a:buNone/>
              </a:pPr>
              <a:t>29.</a:t>
            </a:fld>
            <a:endParaRPr lang="en-GB" sz="1200" b="1" dirty="0">
              <a:latin typeface="Arial"/>
              <a:cs typeface="Arial"/>
              <a:sym typeface="Arial"/>
            </a:endParaRPr>
          </a:p>
        </p:txBody>
      </p:sp>
      <p:cxnSp>
        <p:nvCxnSpPr>
          <p:cNvPr id="59" name="Straight Connector 58"/>
          <p:cNvCxnSpPr/>
          <p:nvPr>
            <p:custDataLst>
              <p:tags r:id="rId18"/>
            </p:custDataLst>
          </p:nvPr>
        </p:nvCxnSpPr>
        <p:spPr bwMode="gray">
          <a:xfrm>
            <a:off x="8505825" y="1811336"/>
            <a:ext cx="0" cy="3644900"/>
          </a:xfrm>
          <a:prstGeom prst="line">
            <a:avLst/>
          </a:prstGeom>
          <a:ln w="9525">
            <a:solidFill>
              <a:srgbClr val="606060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>
            <p:custDataLst>
              <p:tags r:id="rId19"/>
            </p:custDataLst>
          </p:nvPr>
        </p:nvCxnSpPr>
        <p:spPr bwMode="gray">
          <a:xfrm>
            <a:off x="8261350" y="1811336"/>
            <a:ext cx="0" cy="3644900"/>
          </a:xfrm>
          <a:prstGeom prst="line">
            <a:avLst/>
          </a:prstGeom>
          <a:ln w="3175">
            <a:solidFill>
              <a:srgbClr val="606060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>
            <p:custDataLst>
              <p:tags r:id="rId20"/>
            </p:custDataLst>
          </p:nvPr>
        </p:nvCxnSpPr>
        <p:spPr bwMode="gray">
          <a:xfrm>
            <a:off x="4646613" y="1811336"/>
            <a:ext cx="0" cy="3644900"/>
          </a:xfrm>
          <a:prstGeom prst="line">
            <a:avLst/>
          </a:prstGeom>
          <a:ln w="3175">
            <a:solidFill>
              <a:srgbClr val="606060"/>
            </a:solidFill>
            <a:prstDash val="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>
            <p:custDataLst>
              <p:tags r:id="rId21"/>
            </p:custDataLst>
          </p:nvPr>
        </p:nvCxnSpPr>
        <p:spPr bwMode="gray">
          <a:xfrm>
            <a:off x="5075238" y="1811336"/>
            <a:ext cx="0" cy="3644900"/>
          </a:xfrm>
          <a:prstGeom prst="line">
            <a:avLst/>
          </a:prstGeom>
          <a:ln w="3175">
            <a:solidFill>
              <a:srgbClr val="606060"/>
            </a:solidFill>
            <a:prstDash val="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22"/>
            </p:custDataLst>
          </p:nvPr>
        </p:nvCxnSpPr>
        <p:spPr bwMode="gray">
          <a:xfrm>
            <a:off x="5503863" y="1811336"/>
            <a:ext cx="0" cy="3644900"/>
          </a:xfrm>
          <a:prstGeom prst="line">
            <a:avLst/>
          </a:prstGeom>
          <a:ln w="3175">
            <a:solidFill>
              <a:srgbClr val="606060"/>
            </a:solidFill>
            <a:prstDash val="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23"/>
            </p:custDataLst>
          </p:nvPr>
        </p:nvCxnSpPr>
        <p:spPr bwMode="gray">
          <a:xfrm>
            <a:off x="5932488" y="1811336"/>
            <a:ext cx="0" cy="3644900"/>
          </a:xfrm>
          <a:prstGeom prst="line">
            <a:avLst/>
          </a:prstGeom>
          <a:ln w="3175">
            <a:solidFill>
              <a:srgbClr val="606060"/>
            </a:solidFill>
            <a:prstDash val="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24"/>
            </p:custDataLst>
          </p:nvPr>
        </p:nvCxnSpPr>
        <p:spPr bwMode="gray">
          <a:xfrm>
            <a:off x="6791325" y="1811336"/>
            <a:ext cx="0" cy="3644900"/>
          </a:xfrm>
          <a:prstGeom prst="line">
            <a:avLst/>
          </a:prstGeom>
          <a:ln w="3175">
            <a:solidFill>
              <a:srgbClr val="606060"/>
            </a:solidFill>
            <a:prstDash val="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25"/>
            </p:custDataLst>
          </p:nvPr>
        </p:nvCxnSpPr>
        <p:spPr bwMode="gray">
          <a:xfrm>
            <a:off x="6362700" y="1811336"/>
            <a:ext cx="0" cy="3644900"/>
          </a:xfrm>
          <a:prstGeom prst="line">
            <a:avLst/>
          </a:prstGeom>
          <a:ln w="3175">
            <a:solidFill>
              <a:srgbClr val="606060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26"/>
            </p:custDataLst>
          </p:nvPr>
        </p:nvCxnSpPr>
        <p:spPr bwMode="gray">
          <a:xfrm>
            <a:off x="4524375" y="1811336"/>
            <a:ext cx="0" cy="3644900"/>
          </a:xfrm>
          <a:prstGeom prst="line">
            <a:avLst/>
          </a:prstGeom>
          <a:ln w="3175">
            <a:solidFill>
              <a:srgbClr val="606060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27"/>
            </p:custDataLst>
          </p:nvPr>
        </p:nvCxnSpPr>
        <p:spPr bwMode="gray">
          <a:xfrm>
            <a:off x="4217988" y="1811336"/>
            <a:ext cx="0" cy="3644900"/>
          </a:xfrm>
          <a:prstGeom prst="line">
            <a:avLst/>
          </a:prstGeom>
          <a:ln w="9525">
            <a:solidFill>
              <a:srgbClr val="606060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28"/>
            </p:custDataLst>
          </p:nvPr>
        </p:nvCxnSpPr>
        <p:spPr bwMode="gray">
          <a:xfrm>
            <a:off x="7648575" y="1811336"/>
            <a:ext cx="0" cy="3644900"/>
          </a:xfrm>
          <a:prstGeom prst="line">
            <a:avLst/>
          </a:prstGeom>
          <a:ln w="3175">
            <a:solidFill>
              <a:srgbClr val="606060"/>
            </a:solidFill>
            <a:prstDash val="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29"/>
            </p:custDataLst>
          </p:nvPr>
        </p:nvCxnSpPr>
        <p:spPr bwMode="gray">
          <a:xfrm>
            <a:off x="8077200" y="1811336"/>
            <a:ext cx="0" cy="3644900"/>
          </a:xfrm>
          <a:prstGeom prst="line">
            <a:avLst/>
          </a:prstGeom>
          <a:ln w="3175">
            <a:solidFill>
              <a:srgbClr val="606060"/>
            </a:solidFill>
            <a:prstDash val="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0"/>
            </p:custDataLst>
          </p:nvPr>
        </p:nvCxnSpPr>
        <p:spPr bwMode="gray">
          <a:xfrm>
            <a:off x="7219950" y="1811336"/>
            <a:ext cx="0" cy="3644900"/>
          </a:xfrm>
          <a:prstGeom prst="line">
            <a:avLst/>
          </a:prstGeom>
          <a:ln w="3175">
            <a:solidFill>
              <a:srgbClr val="606060"/>
            </a:solidFill>
            <a:prstDash val="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31"/>
            </p:custDataLst>
          </p:nvPr>
        </p:nvCxnSpPr>
        <p:spPr bwMode="gray">
          <a:xfrm>
            <a:off x="552449" y="5456238"/>
            <a:ext cx="7953375" cy="0"/>
          </a:xfrm>
          <a:prstGeom prst="line">
            <a:avLst/>
          </a:prstGeom>
          <a:ln w="9525">
            <a:solidFill>
              <a:srgbClr val="606060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>
            <p:custDataLst>
              <p:tags r:id="rId32"/>
            </p:custDataLst>
          </p:nvPr>
        </p:nvCxnSpPr>
        <p:spPr bwMode="gray">
          <a:xfrm>
            <a:off x="552450" y="3127375"/>
            <a:ext cx="7953375" cy="0"/>
          </a:xfrm>
          <a:prstGeom prst="line">
            <a:avLst/>
          </a:prstGeom>
          <a:ln w="3175">
            <a:solidFill>
              <a:srgbClr val="606060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/>
          <p:cNvCxnSpPr/>
          <p:nvPr>
            <p:custDataLst>
              <p:tags r:id="rId33"/>
            </p:custDataLst>
          </p:nvPr>
        </p:nvCxnSpPr>
        <p:spPr bwMode="gray">
          <a:xfrm>
            <a:off x="552450" y="4138613"/>
            <a:ext cx="7953375" cy="0"/>
          </a:xfrm>
          <a:prstGeom prst="line">
            <a:avLst/>
          </a:prstGeom>
          <a:ln w="3175">
            <a:solidFill>
              <a:srgbClr val="606060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>
            <p:custDataLst>
              <p:tags r:id="rId34"/>
            </p:custDataLst>
          </p:nvPr>
        </p:nvCxnSpPr>
        <p:spPr bwMode="gray">
          <a:xfrm>
            <a:off x="4279900" y="1811336"/>
            <a:ext cx="0" cy="3808413"/>
          </a:xfrm>
          <a:prstGeom prst="line">
            <a:avLst/>
          </a:prstGeom>
          <a:ln w="19050">
            <a:solidFill>
              <a:srgbClr val="606060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/>
          <p:cNvCxnSpPr/>
          <p:nvPr>
            <p:custDataLst>
              <p:tags r:id="rId35"/>
            </p:custDataLst>
          </p:nvPr>
        </p:nvCxnSpPr>
        <p:spPr bwMode="gray">
          <a:xfrm>
            <a:off x="8383588" y="1811336"/>
            <a:ext cx="0" cy="3808413"/>
          </a:xfrm>
          <a:prstGeom prst="line">
            <a:avLst/>
          </a:prstGeom>
          <a:ln w="19050">
            <a:solidFill>
              <a:srgbClr val="606060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36"/>
            </p:custDataLst>
          </p:nvPr>
        </p:nvCxnSpPr>
        <p:spPr bwMode="gray">
          <a:xfrm>
            <a:off x="552449" y="1811338"/>
            <a:ext cx="7953375" cy="0"/>
          </a:xfrm>
          <a:prstGeom prst="line">
            <a:avLst/>
          </a:prstGeom>
          <a:ln w="9525">
            <a:solidFill>
              <a:srgbClr val="606060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Rectangle 88"/>
          <p:cNvSpPr/>
          <p:nvPr>
            <p:custDataLst>
              <p:tags r:id="rId37"/>
            </p:custDataLst>
          </p:nvPr>
        </p:nvSpPr>
        <p:spPr bwMode="gray">
          <a:xfrm>
            <a:off x="5688013" y="4613275"/>
            <a:ext cx="2695575" cy="79375"/>
          </a:xfrm>
          <a:prstGeom prst="rect">
            <a:avLst/>
          </a:prstGeom>
          <a:solidFill>
            <a:srgbClr val="C0C0C0"/>
          </a:solidFill>
          <a:ln w="19050">
            <a:solidFill>
              <a:srgbClr val="C0C0C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6" name="Rectangle 135"/>
          <p:cNvSpPr/>
          <p:nvPr>
            <p:custDataLst>
              <p:tags r:id="rId38"/>
            </p:custDataLst>
          </p:nvPr>
        </p:nvSpPr>
        <p:spPr bwMode="gray">
          <a:xfrm>
            <a:off x="7280275" y="5226050"/>
            <a:ext cx="1103313" cy="79375"/>
          </a:xfrm>
          <a:prstGeom prst="rect">
            <a:avLst/>
          </a:prstGeom>
          <a:solidFill>
            <a:srgbClr val="C0C0C0"/>
          </a:solidFill>
          <a:ln w="19050">
            <a:solidFill>
              <a:srgbClr val="C0C0C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4" name="Rectangle 103"/>
          <p:cNvSpPr/>
          <p:nvPr>
            <p:custDataLst>
              <p:tags r:id="rId39"/>
            </p:custDataLst>
          </p:nvPr>
        </p:nvSpPr>
        <p:spPr bwMode="gray">
          <a:xfrm>
            <a:off x="5688013" y="4919663"/>
            <a:ext cx="2695575" cy="79375"/>
          </a:xfrm>
          <a:prstGeom prst="rect">
            <a:avLst/>
          </a:prstGeom>
          <a:solidFill>
            <a:srgbClr val="C0C0C0"/>
          </a:solidFill>
          <a:ln w="19050">
            <a:solidFill>
              <a:srgbClr val="C0C0C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3" name="Rectangle 102"/>
          <p:cNvSpPr/>
          <p:nvPr>
            <p:custDataLst>
              <p:tags r:id="rId40"/>
            </p:custDataLst>
          </p:nvPr>
        </p:nvSpPr>
        <p:spPr bwMode="gray">
          <a:xfrm>
            <a:off x="4830763" y="3908425"/>
            <a:ext cx="2511425" cy="79375"/>
          </a:xfrm>
          <a:prstGeom prst="rect">
            <a:avLst/>
          </a:prstGeom>
          <a:solidFill>
            <a:srgbClr val="969696"/>
          </a:solidFill>
          <a:ln w="19050">
            <a:solidFill>
              <a:srgbClr val="969696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8" name="Rectangle 87"/>
          <p:cNvSpPr/>
          <p:nvPr>
            <p:custDataLst>
              <p:tags r:id="rId41"/>
            </p:custDataLst>
          </p:nvPr>
        </p:nvSpPr>
        <p:spPr bwMode="gray">
          <a:xfrm>
            <a:off x="4830762" y="3602038"/>
            <a:ext cx="1041400" cy="79375"/>
          </a:xfrm>
          <a:prstGeom prst="rect">
            <a:avLst/>
          </a:prstGeom>
          <a:solidFill>
            <a:srgbClr val="969696"/>
          </a:solidFill>
          <a:ln w="19050">
            <a:solidFill>
              <a:srgbClr val="969696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3" name="Rectangle 92"/>
          <p:cNvSpPr/>
          <p:nvPr>
            <p:custDataLst>
              <p:tags r:id="rId42"/>
            </p:custDataLst>
          </p:nvPr>
        </p:nvSpPr>
        <p:spPr bwMode="gray">
          <a:xfrm>
            <a:off x="4232275" y="2897188"/>
            <a:ext cx="1211263" cy="79375"/>
          </a:xfrm>
          <a:prstGeom prst="rect">
            <a:avLst/>
          </a:prstGeom>
          <a:solidFill>
            <a:srgbClr val="606060"/>
          </a:solidFill>
          <a:ln w="19050">
            <a:solidFill>
              <a:srgbClr val="60606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" name="Rectangle 91"/>
          <p:cNvSpPr/>
          <p:nvPr>
            <p:custDataLst>
              <p:tags r:id="rId43"/>
            </p:custDataLst>
          </p:nvPr>
        </p:nvSpPr>
        <p:spPr bwMode="gray">
          <a:xfrm>
            <a:off x="4232275" y="2590800"/>
            <a:ext cx="1211263" cy="79375"/>
          </a:xfrm>
          <a:prstGeom prst="rect">
            <a:avLst/>
          </a:prstGeom>
          <a:solidFill>
            <a:srgbClr val="606060"/>
          </a:solidFill>
          <a:ln w="19050">
            <a:solidFill>
              <a:srgbClr val="60606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5" name="Rectangle 84"/>
          <p:cNvSpPr/>
          <p:nvPr>
            <p:custDataLst>
              <p:tags r:id="rId44"/>
            </p:custDataLst>
          </p:nvPr>
        </p:nvSpPr>
        <p:spPr bwMode="gray">
          <a:xfrm>
            <a:off x="4232275" y="2284413"/>
            <a:ext cx="658813" cy="79375"/>
          </a:xfrm>
          <a:prstGeom prst="rect">
            <a:avLst/>
          </a:prstGeom>
          <a:solidFill>
            <a:srgbClr val="606060"/>
          </a:solidFill>
          <a:ln w="19050">
            <a:solidFill>
              <a:srgbClr val="606060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7" name="Isosceles Triangle 166"/>
          <p:cNvSpPr/>
          <p:nvPr>
            <p:custDataLst>
              <p:tags r:id="rId45"/>
            </p:custDataLst>
          </p:nvPr>
        </p:nvSpPr>
        <p:spPr bwMode="gray">
          <a:xfrm>
            <a:off x="8324850" y="5568950"/>
            <a:ext cx="119063" cy="103188"/>
          </a:xfrm>
          <a:prstGeom prst="triangle">
            <a:avLst/>
          </a:prstGeom>
          <a:solidFill>
            <a:srgbClr val="E29815"/>
          </a:solidFill>
          <a:ln w="19050">
            <a:solidFill>
              <a:srgbClr val="E29815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Isosceles Triangle 37"/>
          <p:cNvSpPr/>
          <p:nvPr>
            <p:custDataLst>
              <p:tags r:id="rId46"/>
            </p:custDataLst>
          </p:nvPr>
        </p:nvSpPr>
        <p:spPr bwMode="gray">
          <a:xfrm>
            <a:off x="4221163" y="5568950"/>
            <a:ext cx="119063" cy="103188"/>
          </a:xfrm>
          <a:prstGeom prst="triangle">
            <a:avLst/>
          </a:prstGeom>
          <a:solidFill>
            <a:srgbClr val="E29815"/>
          </a:solidFill>
          <a:ln w="19050">
            <a:solidFill>
              <a:srgbClr val="E29815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 Placeholder 1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552448" y="4568825"/>
            <a:ext cx="26098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sz="1200" dirty="0" smtClean="0">
                <a:latin typeface="Arial"/>
                <a:cs typeface="Arial"/>
                <a:sym typeface="Arial"/>
              </a:rPr>
              <a:t>Prepare full RAS documentation packs</a:t>
            </a:r>
            <a:endParaRPr lang="en-GB" sz="1200" dirty="0">
              <a:latin typeface="Arial"/>
              <a:cs typeface="Arial"/>
              <a:sym typeface="Arial"/>
            </a:endParaRPr>
          </a:p>
        </p:txBody>
      </p:sp>
      <p:sp>
        <p:nvSpPr>
          <p:cNvPr id="186" name="Text Placeholder 1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552449" y="4232275"/>
            <a:ext cx="20970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sz="1400" b="1" dirty="0" smtClean="0">
                <a:solidFill>
                  <a:srgbClr val="FF0000"/>
                </a:solidFill>
                <a:latin typeface="Arial"/>
                <a:cs typeface="Arial"/>
                <a:sym typeface="Arial"/>
              </a:rPr>
              <a:t>Presentation preparation</a:t>
            </a:r>
            <a:endParaRPr lang="en-GB" sz="1400" b="1" dirty="0">
              <a:solidFill>
                <a:srgbClr val="FF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Text Placeholder 1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52449" y="3557588"/>
            <a:ext cx="34861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sz="1200" dirty="0" smtClean="0">
                <a:latin typeface="Arial"/>
                <a:cs typeface="Arial"/>
                <a:sym typeface="Arial"/>
              </a:rPr>
              <a:t>Review &amp; refine recalibration with </a:t>
            </a:r>
            <a:r>
              <a:rPr lang="en-US" sz="1200" i="1" dirty="0" smtClean="0">
                <a:latin typeface="Arial"/>
                <a:cs typeface="Arial"/>
                <a:sym typeface="Arial"/>
              </a:rPr>
              <a:t>core</a:t>
            </a:r>
            <a:r>
              <a:rPr lang="en-US" sz="1200" dirty="0" smtClean="0">
                <a:latin typeface="Arial"/>
                <a:cs typeface="Arial"/>
                <a:sym typeface="Arial"/>
              </a:rPr>
              <a:t> </a:t>
            </a:r>
            <a:r>
              <a:rPr lang="en-US" sz="1200" i="1" dirty="0" smtClean="0">
                <a:latin typeface="Arial"/>
                <a:cs typeface="Arial"/>
                <a:sym typeface="Arial"/>
              </a:rPr>
              <a:t>stakeholders</a:t>
            </a:r>
            <a:endParaRPr lang="en-GB" sz="1200" i="1" dirty="0">
              <a:latin typeface="Arial"/>
              <a:cs typeface="Arial"/>
              <a:sym typeface="Arial"/>
            </a:endParaRPr>
          </a:p>
        </p:txBody>
      </p:sp>
      <p:sp>
        <p:nvSpPr>
          <p:cNvPr id="6" name="Text Placeholder 1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552447" y="2239963"/>
            <a:ext cx="31940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sz="1200" dirty="0" smtClean="0">
                <a:latin typeface="Arial"/>
                <a:cs typeface="Arial"/>
                <a:sym typeface="Arial"/>
              </a:rPr>
              <a:t>Collect &amp; verify CCAR results and external data</a:t>
            </a:r>
            <a:endParaRPr lang="en-GB" sz="1200" dirty="0">
              <a:latin typeface="Arial"/>
              <a:cs typeface="Arial"/>
              <a:sym typeface="Arial"/>
            </a:endParaRPr>
          </a:p>
        </p:txBody>
      </p:sp>
      <p:sp>
        <p:nvSpPr>
          <p:cNvPr id="90" name="Text Placeholder 1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552449" y="2546350"/>
            <a:ext cx="28178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sz="1200" dirty="0" smtClean="0">
                <a:latin typeface="Arial"/>
                <a:cs typeface="Arial"/>
                <a:sym typeface="Arial"/>
              </a:rPr>
              <a:t>Recalibrate CCAR-linked financial metrics</a:t>
            </a:r>
            <a:endParaRPr lang="en-GB" sz="1200" dirty="0">
              <a:latin typeface="Arial"/>
              <a:cs typeface="Arial"/>
              <a:sym typeface="Arial"/>
            </a:endParaRPr>
          </a:p>
        </p:txBody>
      </p:sp>
      <p:sp>
        <p:nvSpPr>
          <p:cNvPr id="91" name="Text Placeholder 1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552450" y="2852738"/>
            <a:ext cx="20367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sz="1200" dirty="0" smtClean="0">
                <a:latin typeface="Arial"/>
                <a:cs typeface="Arial"/>
                <a:sym typeface="Arial"/>
              </a:rPr>
              <a:t>Select &amp; calibrate new metrics</a:t>
            </a:r>
            <a:endParaRPr lang="en-GB" sz="1200" dirty="0">
              <a:latin typeface="Arial"/>
              <a:cs typeface="Arial"/>
              <a:sym typeface="Arial"/>
            </a:endParaRPr>
          </a:p>
        </p:txBody>
      </p:sp>
      <p:sp>
        <p:nvSpPr>
          <p:cNvPr id="197" name="Text Placeholder 1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552449" y="3221038"/>
            <a:ext cx="21256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sz="1400" b="1" dirty="0" smtClean="0">
                <a:solidFill>
                  <a:srgbClr val="FF0000"/>
                </a:solidFill>
                <a:latin typeface="Arial"/>
                <a:cs typeface="Arial"/>
                <a:sym typeface="Arial"/>
              </a:rPr>
              <a:t>Stakeholder socialization</a:t>
            </a:r>
            <a:endParaRPr lang="en-GB" sz="1400" b="1" dirty="0">
              <a:solidFill>
                <a:srgbClr val="FF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6" name="Text Placeholder 1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552449" y="3863975"/>
            <a:ext cx="31575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sz="1200" dirty="0" smtClean="0">
                <a:latin typeface="Arial"/>
                <a:cs typeface="Arial"/>
                <a:sym typeface="Arial"/>
              </a:rPr>
              <a:t>Socialize recalibration with </a:t>
            </a:r>
            <a:r>
              <a:rPr lang="en-US" sz="1200" i="1" dirty="0" smtClean="0">
                <a:latin typeface="Arial"/>
                <a:cs typeface="Arial"/>
                <a:sym typeface="Arial"/>
              </a:rPr>
              <a:t>Entity stakeholders </a:t>
            </a:r>
          </a:p>
        </p:txBody>
      </p:sp>
      <p:sp>
        <p:nvSpPr>
          <p:cNvPr id="134" name="Text Placeholder 1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552444" y="5181600"/>
            <a:ext cx="2935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sz="1200" dirty="0" smtClean="0">
                <a:latin typeface="Arial"/>
                <a:cs typeface="Arial"/>
                <a:sym typeface="Arial"/>
              </a:rPr>
              <a:t>Review board presentations with </a:t>
            </a:r>
            <a:r>
              <a:rPr lang="en-US" sz="1200" i="1" dirty="0">
                <a:latin typeface="Arial"/>
                <a:cs typeface="Arial"/>
                <a:sym typeface="Arial"/>
              </a:rPr>
              <a:t>l</a:t>
            </a:r>
            <a:r>
              <a:rPr lang="en-US" sz="1200" i="1" dirty="0" smtClean="0">
                <a:latin typeface="Arial"/>
                <a:cs typeface="Arial"/>
                <a:sym typeface="Arial"/>
              </a:rPr>
              <a:t>eadership</a:t>
            </a:r>
            <a:endParaRPr lang="en-GB" sz="1200" i="1" dirty="0">
              <a:latin typeface="Arial"/>
              <a:cs typeface="Arial"/>
              <a:sym typeface="Arial"/>
            </a:endParaRPr>
          </a:p>
        </p:txBody>
      </p:sp>
      <p:sp>
        <p:nvSpPr>
          <p:cNvPr id="97" name="Text Placeholder 1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552448" y="4875213"/>
            <a:ext cx="19240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sz="1200" dirty="0">
                <a:latin typeface="Arial"/>
                <a:cs typeface="Arial"/>
                <a:sym typeface="Arial"/>
              </a:rPr>
              <a:t>Prepare </a:t>
            </a:r>
            <a:r>
              <a:rPr lang="en-US" sz="1200" dirty="0" smtClean="0">
                <a:latin typeface="Arial"/>
                <a:cs typeface="Arial"/>
                <a:sym typeface="Arial"/>
              </a:rPr>
              <a:t>board presentations</a:t>
            </a:r>
            <a:endParaRPr lang="en-GB" sz="1200" dirty="0">
              <a:latin typeface="Arial"/>
              <a:cs typeface="Arial"/>
              <a:sym typeface="Arial"/>
            </a:endParaRPr>
          </a:p>
        </p:txBody>
      </p:sp>
      <p:sp>
        <p:nvSpPr>
          <p:cNvPr id="201" name="Text Placeholder 1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552449" y="1903413"/>
            <a:ext cx="16351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sz="1400" b="1" dirty="0" smtClean="0">
                <a:solidFill>
                  <a:srgbClr val="FF0000"/>
                </a:solidFill>
                <a:latin typeface="Arial"/>
                <a:cs typeface="Arial"/>
                <a:sym typeface="Arial"/>
              </a:rPr>
              <a:t>Metric recalibration</a:t>
            </a:r>
            <a:endParaRPr lang="en-GB" sz="1400" b="1" dirty="0">
              <a:solidFill>
                <a:srgbClr val="FF0000"/>
              </a:solidFill>
              <a:latin typeface="Arial"/>
              <a:cs typeface="Arial"/>
              <a:sym typeface="Arial"/>
            </a:endParaRPr>
          </a:p>
        </p:txBody>
      </p:sp>
      <p:sp useBgFill="1">
        <p:nvSpPr>
          <p:cNvPr id="166" name="Text Placeholder 21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7907338" y="5699125"/>
            <a:ext cx="954088" cy="304800"/>
          </a:xfrm>
          <a:prstGeom prst="rect">
            <a:avLst/>
          </a:prstGeom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sz="1000" dirty="0" smtClean="0">
                <a:latin typeface="Arial"/>
                <a:cs typeface="Arial"/>
                <a:sym typeface="Arial"/>
              </a:rPr>
              <a:t>OW handover to 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000" dirty="0" smtClean="0">
                <a:latin typeface="Arial"/>
                <a:cs typeface="Arial"/>
                <a:sym typeface="Arial"/>
              </a:rPr>
              <a:t>RAS team</a:t>
            </a:r>
            <a:endParaRPr lang="en-GB" sz="1000" dirty="0">
              <a:latin typeface="Arial"/>
              <a:cs typeface="Arial"/>
              <a:sym typeface="Arial"/>
            </a:endParaRPr>
          </a:p>
        </p:txBody>
      </p:sp>
      <p:sp useBgFill="1">
        <p:nvSpPr>
          <p:cNvPr id="37" name="Text Placeholder 15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4068763" y="5699125"/>
            <a:ext cx="422275" cy="152400"/>
          </a:xfrm>
          <a:prstGeom prst="rect">
            <a:avLst/>
          </a:prstGeom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sz="1000" dirty="0" smtClean="0">
                <a:latin typeface="Arial"/>
                <a:cs typeface="Arial"/>
                <a:sym typeface="Arial"/>
              </a:rPr>
              <a:t>Kick-off</a:t>
            </a:r>
            <a:endParaRPr lang="en-GB" sz="1000" dirty="0">
              <a:latin typeface="Arial"/>
              <a:cs typeface="Arial"/>
              <a:sym typeface="Arial"/>
            </a:endParaRPr>
          </a:p>
        </p:txBody>
      </p:sp>
      <p:sp>
        <p:nvSpPr>
          <p:cNvPr id="181" name="TextBox 180"/>
          <p:cNvSpPr txBox="1"/>
          <p:nvPr/>
        </p:nvSpPr>
        <p:spPr>
          <a:xfrm>
            <a:off x="254000" y="248488"/>
            <a:ext cx="889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RAS support – Timeline</a:t>
            </a:r>
            <a:endParaRPr lang="en-US" sz="2000" b="1" dirty="0"/>
          </a:p>
        </p:txBody>
      </p:sp>
      <p:sp>
        <p:nvSpPr>
          <p:cNvPr id="210" name="Rectangle 209"/>
          <p:cNvSpPr/>
          <p:nvPr/>
        </p:nvSpPr>
        <p:spPr>
          <a:xfrm>
            <a:off x="456885" y="1059844"/>
            <a:ext cx="151836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oject timeline</a:t>
            </a:r>
            <a:endParaRPr lang="en-GB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389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4238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0598128"/>
              </p:ext>
            </p:extLst>
          </p:nvPr>
        </p:nvGraphicFramePr>
        <p:xfrm>
          <a:off x="393695" y="1101948"/>
          <a:ext cx="8345492" cy="42536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1448"/>
                <a:gridCol w="1262743"/>
                <a:gridCol w="2677885"/>
                <a:gridCol w="3383416"/>
              </a:tblGrid>
              <a:tr h="287759"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endParaRPr lang="en-GB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S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ontacts</a:t>
                      </a:r>
                      <a:endParaRPr lang="en-GB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ior Stakeholders</a:t>
                      </a:r>
                      <a:endParaRPr lang="en-GB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y deadlines</a:t>
                      </a:r>
                      <a:endParaRPr lang="en-GB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63278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GB" sz="1200" b="1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chael Zhang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ott Powell (CEO)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ian Gunn (CRO)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uke </a:t>
                      </a:r>
                      <a:r>
                        <a:rPr lang="en-GB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yal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CFO)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y 17</a:t>
                      </a:r>
                      <a:r>
                        <a:rPr lang="en-GB" sz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Leadership review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ne 15 (ERMC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ne 28 (Risk </a:t>
                      </a:r>
                      <a:r>
                        <a:rPr lang="en-GB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mte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ne 29 (</a:t>
                      </a:r>
                      <a:r>
                        <a:rPr lang="en-GB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D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submit to Legal by June 21)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71438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GB" sz="1200" b="1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mes Vincent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ott Powell (CEO)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ian Gunn (CRO)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ne 15 (ERMC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ne 29 (</a:t>
                      </a:r>
                      <a:r>
                        <a:rPr lang="en-GB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D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submit to Legal by June 21)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71438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GB" sz="1200" b="1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USA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chael Bishop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son </a:t>
                      </a:r>
                      <a:r>
                        <a:rPr lang="en-GB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ulas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CEO) 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GB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alyan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shan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CRO)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mail Dawood (CFO)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 20 (ERMC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y 25 (ERMC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ly 28 (</a:t>
                      </a:r>
                      <a:r>
                        <a:rPr lang="en-GB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D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7959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GB" sz="1200" b="1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 (PR)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yna </a:t>
                      </a:r>
                      <a:r>
                        <a:rPr lang="en-GB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bricio</a:t>
                      </a:r>
                      <a:endParaRPr lang="en-GB" sz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an Pablo </a:t>
                      </a:r>
                      <a:r>
                        <a:rPr lang="en-GB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rado</a:t>
                      </a:r>
                      <a:endParaRPr lang="en-GB" sz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s-ES" sz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an Sebastián Moreno Blanco (CEO)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ne 23 (Risk </a:t>
                      </a:r>
                      <a:r>
                        <a:rPr lang="en-GB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mte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ne 24 (</a:t>
                      </a:r>
                      <a:r>
                        <a:rPr lang="en-GB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D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submit to Legal by June 16)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7959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GB" sz="1200" b="1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I-Miami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nry Certain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mit to Legal by June 9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ne 16 (Risk </a:t>
                      </a:r>
                      <a:r>
                        <a:rPr lang="en-GB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mte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)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0855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GB" sz="1200" b="1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S (NY)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chelle Murphy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mes </a:t>
                      </a:r>
                      <a:r>
                        <a:rPr lang="en-GB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thon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CRO)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ne 24 (</a:t>
                      </a:r>
                      <a:r>
                        <a:rPr lang="en-GB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D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submit to Legal by June 17)</a:t>
                      </a: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54000" y="248488"/>
            <a:ext cx="889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RAS support – Key stakeholders</a:t>
            </a:r>
            <a:endParaRPr lang="en-US" sz="2000" b="1" dirty="0"/>
          </a:p>
        </p:txBody>
      </p:sp>
      <p:graphicFrame>
        <p:nvGraphicFramePr>
          <p:cNvPr id="9" name="Conclusion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6219839"/>
              </p:ext>
            </p:extLst>
          </p:nvPr>
        </p:nvGraphicFramePr>
        <p:xfrm>
          <a:off x="314325" y="5505535"/>
          <a:ext cx="8510588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10588"/>
              </a:tblGrid>
              <a:tr h="254000">
                <a:tc>
                  <a:txBody>
                    <a:bodyPr/>
                    <a:lstStyle/>
                    <a:p>
                      <a:pPr algn="l"/>
                      <a:r>
                        <a:rPr kumimoji="0" lang="en-GB" sz="1800" b="0" i="0" u="none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+mj-lt"/>
                        </a:rPr>
                        <a:t>Are there any additional key stakeholders and how should we involve the stakeholders in the socialization process? </a:t>
                      </a:r>
                      <a:endParaRPr kumimoji="0" lang="en-GB" sz="1800" b="0" i="0" u="none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+mj-lt"/>
                      </a:endParaRPr>
                    </a:p>
                  </a:txBody>
                  <a:tcPr anchor="b">
                    <a:lnL w="12700" cmpd="sng">
                      <a:solidFill>
                        <a:schemeClr val="lt1"/>
                      </a:solidFill>
                    </a:lnL>
                    <a:lnR w="12700" cmpd="sng">
                      <a:solidFill>
                        <a:schemeClr val="lt1"/>
                      </a:solidFill>
                    </a:lnR>
                    <a:lnT w="9525" cmpd="sng">
                      <a:solidFill>
                        <a:schemeClr val="accent4"/>
                      </a:solidFill>
                    </a:lnT>
                    <a:lnB w="9525" cmpd="sng">
                      <a:solidFill>
                        <a:schemeClr val="accent4"/>
                      </a:solidFill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3794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4000" y="248488"/>
            <a:ext cx="889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2015 vs 2016 RAS metrics (1/2)</a:t>
            </a:r>
            <a:endParaRPr lang="en-US" sz="2000" b="1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3692122"/>
              </p:ext>
            </p:extLst>
          </p:nvPr>
        </p:nvGraphicFramePr>
        <p:xfrm>
          <a:off x="393699" y="983806"/>
          <a:ext cx="8282552" cy="4192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7120"/>
                <a:gridCol w="3221411"/>
                <a:gridCol w="467260"/>
                <a:gridCol w="2956761"/>
              </a:tblGrid>
              <a:tr h="0"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</a:t>
                      </a:r>
                      <a:endParaRPr lang="en-GB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</a:t>
                      </a:r>
                      <a:endParaRPr lang="en-GB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15788">
                <a:tc>
                  <a:txBody>
                    <a:bodyPr/>
                    <a:lstStyle/>
                    <a:p>
                      <a:r>
                        <a:rPr lang="en-GB" sz="1200" b="1" i="0" u="none" strike="noStrike" kern="1200" baseline="0" dirty="0" smtClean="0">
                          <a:solidFill>
                            <a:srgbClr val="5F5F5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pital adequacy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on Equity Tier 1 Ratio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ier 1 Risk-based Capital Ratio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b="1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ible Common Equity Ratio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b="1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 Capital Ratio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b="1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ier 1 Leverage Ratio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GB" sz="1100" b="1" i="0" u="none" strike="noStrike" kern="1200" baseline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79577">
                <a:tc rowSpan="2">
                  <a:txBody>
                    <a:bodyPr/>
                    <a:lstStyle/>
                    <a:p>
                      <a:r>
                        <a:rPr lang="en-US" sz="1200" b="1" i="0" u="none" strike="noStrike" kern="1200" baseline="0" dirty="0" smtClean="0">
                          <a:solidFill>
                            <a:srgbClr val="5F5F5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edit risk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t charge-off rate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60/61+ days past du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b="1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CAR loss budget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unterparties with internal risk rating  &lt; 5.0 and exposure &gt; $100 MM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100" b="0" i="0" u="none" strike="noStrike" kern="1200" baseline="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89472">
                <a:tc vMerge="1">
                  <a:txBody>
                    <a:bodyPr/>
                    <a:lstStyle/>
                    <a:p>
                      <a:endParaRPr lang="en-US" sz="1200" b="1" i="0" u="none" strike="noStrike" kern="1200" baseline="0" dirty="0" smtClean="0">
                        <a:solidFill>
                          <a:srgbClr val="5F5F5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st of Credit 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calculated through ALLL and charge-offs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PL entries (%) </a:t>
                      </a:r>
                      <a:r>
                        <a:rPr lang="en-US" sz="1100" b="1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TBD)</a:t>
                      </a:r>
                      <a:endParaRPr lang="en-US" sz="1100" b="0" i="0" u="none" strike="noStrike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PL coverage ratio (%)  </a:t>
                      </a:r>
                      <a:r>
                        <a:rPr lang="en-US" sz="1100" b="1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TBD)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xposure concentrations</a:t>
                      </a:r>
                      <a:r>
                        <a:rPr lang="en-US" sz="1100" b="0" i="0" u="none" strike="noStrike" kern="1200" baseline="300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SI–Miami: Sec. lending exceptions(%),  LTV, max exposure (individual &amp; top 10 obligors), non-investment grade collateral / pledged asset (%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100" b="0" i="0" u="none" strike="noStrike" kern="1200" baseline="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100" b="0" i="0" u="none" strike="noStrike" kern="1200" baseline="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4210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solidFill>
                            <a:srgbClr val="5F5F5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idual</a:t>
                      </a:r>
                      <a:r>
                        <a:rPr lang="en-GB" sz="1200" b="1" baseline="0" dirty="0" smtClean="0">
                          <a:solidFill>
                            <a:srgbClr val="5F5F5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alue risk</a:t>
                      </a:r>
                      <a:endParaRPr lang="en-GB" sz="1200" b="1" dirty="0" smtClean="0">
                        <a:solidFill>
                          <a:srgbClr val="5F5F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b="1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sidual value deterioration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10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t residual value exposur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100" b="0" i="0" u="none" strike="noStrike" kern="1200" baseline="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171450" indent="-1714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GB" sz="1050" b="0" i="0" u="none" strike="noStrike" kern="1200" baseline="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60526">
                <a:tc row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baseline="0" dirty="0" smtClean="0">
                          <a:solidFill>
                            <a:srgbClr val="5F5F5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perational risk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50" b="1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oss operational risk losses/gross margin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requency: &gt;$200K in losses</a:t>
                      </a:r>
                      <a:r>
                        <a:rPr lang="en-US" sz="1050" b="1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en-GB" sz="1050" b="1" i="0" u="none" strike="noStrike" kern="1200" baseline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50" b="0" i="1" u="none" strike="noStrike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  <a:tr h="260526">
                <a:tc vMerge="1">
                  <a:txBody>
                    <a:bodyPr/>
                    <a:lstStyle/>
                    <a:p>
                      <a:endParaRPr lang="en-GB" sz="1200" b="1" dirty="0" smtClean="0">
                        <a:solidFill>
                          <a:srgbClr val="5F5F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requency: OR events R1, Fraud, Technology, Cyber Risk, &gt; $50K in losses (Miami)</a:t>
                      </a:r>
                      <a:r>
                        <a:rPr lang="en-GB" sz="105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en-US" sz="1050" b="0" i="0" u="none" strike="noStrike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100" b="0" i="0" u="none" strike="noStrike" kern="1200" baseline="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482916" y="998411"/>
            <a:ext cx="228940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GB" sz="1100" b="1" dirty="0" smtClean="0">
                <a:solidFill>
                  <a:srgbClr val="FF0000"/>
                </a:solidFill>
              </a:rPr>
              <a:t>CCAR-linked / OW recalibration</a:t>
            </a:r>
            <a:endParaRPr lang="en-GB" sz="1100" b="1" dirty="0">
              <a:solidFill>
                <a:srgbClr val="FF0000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3028677"/>
              </p:ext>
            </p:extLst>
          </p:nvPr>
        </p:nvGraphicFramePr>
        <p:xfrm>
          <a:off x="6482916" y="754571"/>
          <a:ext cx="2256272" cy="243840"/>
        </p:xfrm>
        <a:graphic>
          <a:graphicData uri="http://schemas.openxmlformats.org/drawingml/2006/table">
            <a:tbl>
              <a:tblPr firstRow="1" bandRow="1"/>
              <a:tblGrid>
                <a:gridCol w="2256272"/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GB" sz="1000" dirty="0" smtClean="0">
                          <a:solidFill>
                            <a:srgbClr val="5F5F5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 2016</a:t>
                      </a:r>
                      <a:r>
                        <a:rPr lang="en-GB" sz="1000" baseline="0" dirty="0" smtClean="0">
                          <a:solidFill>
                            <a:srgbClr val="5F5F5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</a:t>
                      </a:r>
                      <a:endParaRPr lang="en-GB" sz="1000" dirty="0">
                        <a:solidFill>
                          <a:srgbClr val="5F5F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Rectangle 8"/>
          <p:cNvSpPr/>
          <p:nvPr/>
        </p:nvSpPr>
        <p:spPr>
          <a:xfrm>
            <a:off x="331787" y="5865883"/>
            <a:ext cx="82454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en-US" sz="900" dirty="0" smtClean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y</a:t>
            </a:r>
            <a:r>
              <a:rPr lang="en-US" sz="9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RE, multifamily, single obligor, top 20 obligors, large exposures, financial institutions (single counterparty &amp; top 20), underwriting (individual transactions &amp; total), specialized </a:t>
            </a:r>
            <a:r>
              <a:rPr lang="en-US" sz="900" dirty="0" smtClean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nding exposures</a:t>
            </a:r>
          </a:p>
        </p:txBody>
      </p:sp>
      <p:sp>
        <p:nvSpPr>
          <p:cNvPr id="11" name="Rectangular Callout 10"/>
          <p:cNvSpPr/>
          <p:nvPr/>
        </p:nvSpPr>
        <p:spPr>
          <a:xfrm>
            <a:off x="5318808" y="4188960"/>
            <a:ext cx="1430336" cy="393926"/>
          </a:xfrm>
          <a:prstGeom prst="wedgeRectCallout">
            <a:avLst>
              <a:gd name="adj1" fmla="val -65399"/>
              <a:gd name="adj2" fmla="val 60528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9" tIns="72009" rIns="72009" bIns="72009" rtlCol="0" anchor="ctr"/>
          <a:lstStyle/>
          <a:p>
            <a:pPr algn="ctr"/>
            <a:r>
              <a:rPr lang="en-GB" sz="1000" dirty="0" smtClean="0">
                <a:solidFill>
                  <a:schemeClr val="tx1"/>
                </a:solidFill>
                <a:latin typeface="Arial"/>
                <a:sym typeface="Arial"/>
              </a:rPr>
              <a:t>Methodology may not be CCAR linked</a:t>
            </a:r>
          </a:p>
        </p:txBody>
      </p:sp>
      <p:sp>
        <p:nvSpPr>
          <p:cNvPr id="10" name="Rectangular Callout 9"/>
          <p:cNvSpPr/>
          <p:nvPr/>
        </p:nvSpPr>
        <p:spPr>
          <a:xfrm>
            <a:off x="6579277" y="3002417"/>
            <a:ext cx="2221823" cy="560614"/>
          </a:xfrm>
          <a:prstGeom prst="wedgeRectCallout">
            <a:avLst>
              <a:gd name="adj1" fmla="val -64148"/>
              <a:gd name="adj2" fmla="val -33947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9" tIns="72009" rIns="72009" bIns="72009" rtlCol="0" anchor="ctr"/>
          <a:lstStyle/>
          <a:p>
            <a:pPr algn="ctr"/>
            <a:r>
              <a:rPr lang="en-GB" sz="1000" dirty="0" smtClean="0">
                <a:solidFill>
                  <a:schemeClr val="tx1"/>
                </a:solidFill>
                <a:latin typeface="Arial"/>
                <a:sym typeface="Arial"/>
              </a:rPr>
              <a:t>For </a:t>
            </a:r>
            <a:r>
              <a:rPr lang="en-GB" sz="1000" b="1" dirty="0" smtClean="0">
                <a:solidFill>
                  <a:schemeClr val="tx1"/>
                </a:solidFill>
                <a:latin typeface="Arial"/>
                <a:sym typeface="Arial"/>
              </a:rPr>
              <a:t>Group metrics</a:t>
            </a:r>
            <a:r>
              <a:rPr lang="en-GB" sz="1000" dirty="0" smtClean="0">
                <a:solidFill>
                  <a:schemeClr val="tx1"/>
                </a:solidFill>
                <a:latin typeface="Arial"/>
                <a:sym typeface="Arial"/>
              </a:rPr>
              <a:t>, do we need to calibrate limits or only report?</a:t>
            </a:r>
            <a:r>
              <a:rPr lang="en-GB" sz="1000" dirty="0">
                <a:solidFill>
                  <a:schemeClr val="tx1"/>
                </a:solidFill>
                <a:latin typeface="Arial"/>
                <a:sym typeface="Arial"/>
              </a:rPr>
              <a:t> </a:t>
            </a:r>
            <a:endParaRPr lang="en-GB" sz="10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99288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4000" y="248488"/>
            <a:ext cx="889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2015 vs 2016 </a:t>
            </a:r>
            <a:r>
              <a:rPr lang="en-US" sz="2000" b="1" dirty="0"/>
              <a:t>RAS </a:t>
            </a:r>
            <a:r>
              <a:rPr lang="en-US" sz="2000" b="1" dirty="0" smtClean="0"/>
              <a:t>metrics (2/2)</a:t>
            </a:r>
            <a:endParaRPr lang="en-US" sz="2000" b="1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3793178"/>
              </p:ext>
            </p:extLst>
          </p:nvPr>
        </p:nvGraphicFramePr>
        <p:xfrm>
          <a:off x="393699" y="983804"/>
          <a:ext cx="8410180" cy="53161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6776"/>
                <a:gridCol w="3450459"/>
                <a:gridCol w="3322945"/>
              </a:tblGrid>
              <a:tr h="214822"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</a:t>
                      </a:r>
                      <a:endParaRPr lang="en-GB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</a:t>
                      </a:r>
                      <a:endParaRPr lang="en-GB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3024">
                <a:tc rowSpan="2">
                  <a:txBody>
                    <a:bodyPr/>
                    <a:lstStyle/>
                    <a:p>
                      <a:r>
                        <a:rPr lang="en-US" sz="1200" b="1" i="0" u="none" strike="noStrike" kern="1200" baseline="0" dirty="0" smtClean="0">
                          <a:solidFill>
                            <a:srgbClr val="5F5F5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rategic risk</a:t>
                      </a:r>
                    </a:p>
                    <a:p>
                      <a:r>
                        <a:rPr lang="en-US" sz="1200" b="0" i="1" u="none" strike="noStrike" kern="1200" baseline="0" dirty="0" smtClean="0">
                          <a:solidFill>
                            <a:srgbClr val="5F5F5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see following slides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50" b="1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-provisioned net revenue (PPNR) impairment 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5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ss in stress (Credit, Trading, &amp; Op)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USA Total Risk Weighted Assets (RWAs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GB" sz="1050" b="1" i="0" u="none" strike="noStrike" kern="1200" baseline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5573">
                <a:tc vMerge="1">
                  <a:txBody>
                    <a:bodyPr/>
                    <a:lstStyle/>
                    <a:p>
                      <a:endParaRPr lang="en-US" sz="1200" b="0" i="1" u="none" strike="noStrike" kern="1200" baseline="0" dirty="0" smtClean="0">
                        <a:solidFill>
                          <a:srgbClr val="5F5F5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5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USA subprime assets as % of SHUSA total credit exposure 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edit exposure over AuM (%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050" b="0" i="0" u="none" strike="noStrike" kern="1200" baseline="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37055">
                <a:tc rowSpan="2">
                  <a:txBody>
                    <a:bodyPr/>
                    <a:lstStyle/>
                    <a:p>
                      <a:r>
                        <a:rPr lang="en-US" sz="1200" b="1" i="0" u="none" strike="noStrike" kern="1200" baseline="0" dirty="0" smtClean="0">
                          <a:solidFill>
                            <a:srgbClr val="5F5F5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iquidity / funding risk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iquidity stress testing survival horizon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vailable committed liquidity/average projected net originations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iquidity Coverage Ratio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ructural Funding Ratio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GB" sz="1050" b="0" i="0" u="none" strike="noStrike" kern="1200" baseline="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8840">
                <a:tc vMerge="1">
                  <a:txBody>
                    <a:bodyPr/>
                    <a:lstStyle/>
                    <a:p>
                      <a:endParaRPr lang="en-US" sz="1200" b="1" i="0" u="none" strike="noStrike" kern="1200" baseline="0" dirty="0" smtClean="0">
                        <a:solidFill>
                          <a:srgbClr val="5F5F5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sset encumbrance (%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50" b="0" i="0" u="none" strike="noStrike" kern="1200" baseline="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0010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baseline="0" dirty="0" smtClean="0">
                          <a:solidFill>
                            <a:srgbClr val="5F5F5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erest rate risk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t interest income sensitivity (+/- 100bps) 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ket value of equity sensitivity (+/- 200bps)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50" b="0" i="0" u="none" strike="noStrike" kern="1200" baseline="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12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0" u="none" strike="noStrike" kern="1200" baseline="0" dirty="0" smtClean="0">
                          <a:solidFill>
                            <a:srgbClr val="5F5F5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k-to-market risk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5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k-to-market Value at Risk (VaR)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050" b="0" i="0" u="none" strike="noStrike" kern="1200" baseline="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12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0" u="none" strike="noStrike" kern="1200" baseline="0" dirty="0" smtClean="0">
                          <a:solidFill>
                            <a:srgbClr val="5F5F5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del risk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cklog of Tier 1 models not appropriately approved </a:t>
                      </a:r>
                      <a:r>
                        <a:rPr lang="en-GB" sz="105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	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050" b="0" i="0" u="none" strike="noStrike" kern="1200" baseline="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53917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baseline="0" dirty="0" smtClean="0">
                          <a:solidFill>
                            <a:srgbClr val="5F5F5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pliance &amp; reputational risk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tters Requiring Immediate Attention (MRIAs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itability Review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FPB Complaint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ced for others monthly net charge-off rate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 new monthly arbitrations and court proceedings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 number of sales practice complaints (monthly)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igh Risk Customers (% of total customers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50" b="0" i="0" u="none" strike="noStrike" kern="1200" baseline="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5573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baseline="0" dirty="0" smtClean="0">
                          <a:solidFill>
                            <a:srgbClr val="5F5F5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iduciary risk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nding purchase order documentation (%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scretionary mandates: aging of excesses (months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ients with missing profiles (%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xceeded client investment profiles (%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050" b="0" i="0" u="none" strike="noStrike" kern="1200" baseline="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482916" y="998411"/>
            <a:ext cx="228940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GB" sz="1100" b="1" dirty="0" smtClean="0">
                <a:solidFill>
                  <a:srgbClr val="FF0000"/>
                </a:solidFill>
              </a:rPr>
              <a:t>CCAR-linked / OW recalibration</a:t>
            </a:r>
            <a:endParaRPr lang="en-GB" sz="1100" b="1" dirty="0">
              <a:solidFill>
                <a:srgbClr val="FF0000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3994090"/>
              </p:ext>
            </p:extLst>
          </p:nvPr>
        </p:nvGraphicFramePr>
        <p:xfrm>
          <a:off x="6482916" y="754571"/>
          <a:ext cx="2256272" cy="243840"/>
        </p:xfrm>
        <a:graphic>
          <a:graphicData uri="http://schemas.openxmlformats.org/drawingml/2006/table">
            <a:tbl>
              <a:tblPr firstRow="1" bandRow="1"/>
              <a:tblGrid>
                <a:gridCol w="2256272"/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GB" sz="1000" dirty="0" smtClean="0">
                          <a:solidFill>
                            <a:srgbClr val="5F5F5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 2016</a:t>
                      </a:r>
                      <a:r>
                        <a:rPr lang="en-GB" sz="1000" baseline="0" dirty="0" smtClean="0">
                          <a:solidFill>
                            <a:srgbClr val="5F5F5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</a:t>
                      </a:r>
                      <a:endParaRPr lang="en-GB" sz="1000" dirty="0">
                        <a:solidFill>
                          <a:srgbClr val="5F5F5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Rectangular Callout 10"/>
          <p:cNvSpPr/>
          <p:nvPr/>
        </p:nvSpPr>
        <p:spPr>
          <a:xfrm>
            <a:off x="5580063" y="1385888"/>
            <a:ext cx="1631831" cy="440417"/>
          </a:xfrm>
          <a:prstGeom prst="wedgeRectCallout">
            <a:avLst>
              <a:gd name="adj1" fmla="val -85520"/>
              <a:gd name="adj2" fmla="val 31141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9" tIns="72009" rIns="72009" bIns="72009" rtlCol="0" anchor="ctr"/>
          <a:lstStyle/>
          <a:p>
            <a:pPr algn="ctr"/>
            <a:r>
              <a:rPr lang="en-GB" sz="1000" dirty="0" smtClean="0">
                <a:solidFill>
                  <a:schemeClr val="tx1"/>
                </a:solidFill>
                <a:latin typeface="Arial"/>
                <a:sym typeface="Arial"/>
              </a:rPr>
              <a:t>Why is this included SCUSA RAS? </a:t>
            </a:r>
          </a:p>
        </p:txBody>
      </p:sp>
    </p:spTree>
    <p:extLst>
      <p:ext uri="{BB962C8B-B14F-4D97-AF65-F5344CB8AC3E}">
        <p14:creationId xmlns:p14="http://schemas.microsoft.com/office/powerpoint/2010/main" val="3888515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6972598"/>
              </p:ext>
            </p:extLst>
          </p:nvPr>
        </p:nvGraphicFramePr>
        <p:xfrm>
          <a:off x="457200" y="1393367"/>
          <a:ext cx="8120062" cy="2926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4020"/>
                <a:gridCol w="1764020"/>
                <a:gridCol w="1764020"/>
                <a:gridCol w="1414001"/>
                <a:gridCol w="1414001"/>
              </a:tblGrid>
              <a:tr h="0">
                <a:tc>
                  <a:txBody>
                    <a:bodyPr/>
                    <a:lstStyle/>
                    <a:p>
                      <a:pPr marL="628650" lvl="1" indent="-171450">
                        <a:buFont typeface="Courier New" panose="02070309020205020404" pitchFamily="49" charset="0"/>
                        <a:buChar char="o"/>
                      </a:pPr>
                      <a:endParaRPr lang="en-GB" sz="1200" b="0" i="0" u="none" strike="noStrike" kern="1200" baseline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 algn="l">
                        <a:buFont typeface="Courier New" panose="02070309020205020404" pitchFamily="49" charset="0"/>
                        <a:buNone/>
                      </a:pPr>
                      <a:r>
                        <a:rPr lang="en-GB" sz="1200" b="1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USA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 algn="l">
                        <a:buFont typeface="Courier New" panose="02070309020205020404" pitchFamily="49" charset="0"/>
                        <a:buNone/>
                      </a:pPr>
                      <a:r>
                        <a:rPr lang="en-GB" sz="1200" b="1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BNA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 algn="l">
                        <a:buFont typeface="Courier New" panose="02070309020205020404" pitchFamily="49" charset="0"/>
                        <a:buNone/>
                      </a:pPr>
                      <a:r>
                        <a:rPr lang="en-GB" sz="1200" b="1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SPR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 algn="l">
                        <a:buFont typeface="Courier New" panose="02070309020205020404" pitchFamily="49" charset="0"/>
                        <a:buNone/>
                      </a:pPr>
                      <a:r>
                        <a:rPr lang="en-GB" sz="1200" b="1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SI - Miami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200" b="1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CAR loss budge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uto</a:t>
                      </a:r>
                    </a:p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secured</a:t>
                      </a:r>
                    </a:p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200" b="0" i="0" u="none" strike="noStrike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tail</a:t>
                      </a:r>
                    </a:p>
                    <a:p>
                      <a:pPr marL="1714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holesale</a:t>
                      </a:r>
                    </a:p>
                    <a:p>
                      <a:pPr marL="1714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BM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047">
                <a:tc>
                  <a:txBody>
                    <a:bodyPr/>
                    <a:lstStyle/>
                    <a:p>
                      <a:pPr marL="0" lvl="1" indent="0">
                        <a:buFont typeface="Courier New" panose="02070309020205020404" pitchFamily="49" charset="0"/>
                        <a:buNone/>
                      </a:pPr>
                      <a:r>
                        <a:rPr lang="en-GB" sz="1200" b="1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t charge-off rat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uto</a:t>
                      </a:r>
                    </a:p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secured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tail</a:t>
                      </a:r>
                    </a:p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mall Business/Business Banking/Auto </a:t>
                      </a:r>
                    </a:p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&amp;I</a:t>
                      </a:r>
                    </a:p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E</a:t>
                      </a:r>
                    </a:p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BM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rtgages</a:t>
                      </a:r>
                    </a:p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ercial banking</a:t>
                      </a:r>
                    </a:p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E</a:t>
                      </a:r>
                    </a:p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sonal loans</a:t>
                      </a:r>
                    </a:p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edit cards</a:t>
                      </a:r>
                    </a:p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stitutional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ourier New" panose="02070309020205020404" pitchFamily="49" charset="0"/>
                        <a:buChar char="o"/>
                        <a:tabLst/>
                        <a:defRPr/>
                      </a:pPr>
                      <a:endParaRPr lang="en-GB" sz="1100" b="0" i="0" u="none" strike="noStrike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1464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ourier New" panose="02070309020205020404" pitchFamily="49" charset="0"/>
                        <a:buNone/>
                        <a:tabLst/>
                        <a:defRPr/>
                      </a:pPr>
                      <a:r>
                        <a:rPr lang="en-US" sz="1200" b="1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60/61+ days past du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uto</a:t>
                      </a:r>
                    </a:p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secured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tail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rtgages </a:t>
                      </a:r>
                    </a:p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sonal loans</a:t>
                      </a:r>
                    </a:p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edit card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1714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ourier New" panose="02070309020205020404" pitchFamily="49" charset="0"/>
                        <a:buChar char="o"/>
                        <a:tabLst/>
                        <a:defRPr/>
                      </a:pPr>
                      <a:endParaRPr lang="en-GB" sz="1100" b="0" i="0" u="none" strike="noStrike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54000" y="248488"/>
            <a:ext cx="889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Segmentation of credit risk metrics</a:t>
            </a:r>
            <a:endParaRPr lang="en-US" sz="2000" b="1" dirty="0"/>
          </a:p>
        </p:txBody>
      </p:sp>
      <p:graphicFrame>
        <p:nvGraphicFramePr>
          <p:cNvPr id="7" name="Conclusion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2992078"/>
              </p:ext>
            </p:extLst>
          </p:nvPr>
        </p:nvGraphicFramePr>
        <p:xfrm>
          <a:off x="331788" y="5456139"/>
          <a:ext cx="8469312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9312"/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kumimoji="0" lang="en-GB" sz="1800" b="0" i="0" u="none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+mj-lt"/>
                        </a:rPr>
                        <a:t>Is this still the correct level of segmentation? Are these still the correct segments (e.g., Unsecured)? </a:t>
                      </a:r>
                      <a:endParaRPr kumimoji="0" lang="en-GB" sz="1800" b="0" i="0" u="none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+mj-lt"/>
                      </a:endParaRPr>
                    </a:p>
                  </a:txBody>
                  <a:tcPr anchor="b">
                    <a:lnL w="12700" cmpd="sng">
                      <a:solidFill>
                        <a:schemeClr val="lt1"/>
                      </a:solidFill>
                    </a:lnL>
                    <a:lnR w="12700" cmpd="sng">
                      <a:solidFill>
                        <a:schemeClr val="lt1"/>
                      </a:solidFill>
                    </a:lnR>
                    <a:lnT w="9525" cmpd="sng">
                      <a:solidFill>
                        <a:schemeClr val="accent4"/>
                      </a:solidFill>
                    </a:lnT>
                    <a:lnB w="9525" cmpd="sng">
                      <a:solidFill>
                        <a:schemeClr val="accent4"/>
                      </a:solidFill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456885" y="1059844"/>
            <a:ext cx="228299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redit risk segmentation</a:t>
            </a:r>
            <a:endParaRPr lang="en-GB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6355440" y="4567798"/>
            <a:ext cx="2221822" cy="690002"/>
          </a:xfrm>
          <a:prstGeom prst="wedgeRectCallout">
            <a:avLst>
              <a:gd name="adj1" fmla="val -32790"/>
              <a:gd name="adj2" fmla="val -86963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9" tIns="72009" rIns="72009" bIns="72009" rtlCol="0" anchor="ctr"/>
          <a:lstStyle/>
          <a:p>
            <a:pPr algn="ctr"/>
            <a:r>
              <a:rPr lang="en-GB" sz="1000" dirty="0" smtClean="0">
                <a:solidFill>
                  <a:schemeClr val="tx1"/>
                </a:solidFill>
                <a:latin typeface="Arial"/>
                <a:sym typeface="Arial"/>
              </a:rPr>
              <a:t>Do we need this level of detail for PR? CRE is not reported separately, so will need to apply mapping assumptions </a:t>
            </a:r>
            <a:endParaRPr lang="en-GB" sz="10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" name="Rectangular Callout 10"/>
          <p:cNvSpPr/>
          <p:nvPr/>
        </p:nvSpPr>
        <p:spPr>
          <a:xfrm>
            <a:off x="575666" y="4564456"/>
            <a:ext cx="2221823" cy="556012"/>
          </a:xfrm>
          <a:prstGeom prst="wedgeRectCallout">
            <a:avLst>
              <a:gd name="adj1" fmla="val 36292"/>
              <a:gd name="adj2" fmla="val -114716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9" tIns="72009" rIns="72009" bIns="72009" rtlCol="0" anchor="ctr"/>
          <a:lstStyle/>
          <a:p>
            <a:pPr algn="ctr"/>
            <a:r>
              <a:rPr lang="en-GB" sz="1000" dirty="0" smtClean="0">
                <a:solidFill>
                  <a:schemeClr val="tx1"/>
                </a:solidFill>
                <a:latin typeface="Arial"/>
                <a:sym typeface="Arial"/>
              </a:rPr>
              <a:t>Do we still want to segment the Unsecured  portfolio?</a:t>
            </a:r>
            <a:endParaRPr lang="en-GB" sz="1000" dirty="0">
              <a:solidFill>
                <a:schemeClr val="tx1"/>
              </a:solidFill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97012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4000" y="248488"/>
            <a:ext cx="889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Current vision for 2016 strategic risk metrics </a:t>
            </a:r>
            <a:endParaRPr lang="en-US" sz="20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393701" y="1028688"/>
            <a:ext cx="8345488" cy="9130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GB" sz="1400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T</a:t>
            </a:r>
            <a:r>
              <a:rPr lang="en-US" sz="1400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 </a:t>
            </a:r>
            <a:r>
              <a:rPr lang="en-US" sz="14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 to current or </a:t>
            </a:r>
            <a:r>
              <a:rPr lang="en-US" sz="1400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ed financial condition and resilience </a:t>
            </a:r>
            <a:r>
              <a:rPr lang="en-US" sz="14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sing from </a:t>
            </a:r>
            <a:r>
              <a:rPr lang="en-US" sz="1400" b="1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erse business decisions</a:t>
            </a:r>
            <a:r>
              <a:rPr lang="en-US" sz="14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4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or implementation </a:t>
            </a:r>
            <a:r>
              <a:rPr lang="en-US" sz="14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business decisions, </a:t>
            </a:r>
            <a:r>
              <a:rPr lang="en-US" sz="1400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US" sz="1400" b="1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k of responsiveness to changes </a:t>
            </a:r>
            <a:r>
              <a:rPr lang="en-US" sz="14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banking industry and operating </a:t>
            </a:r>
            <a:r>
              <a:rPr lang="en-US" sz="1400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ronment.”</a:t>
            </a:r>
          </a:p>
          <a:p>
            <a:pPr algn="r">
              <a:spcAft>
                <a:spcPts val="400"/>
              </a:spcAft>
            </a:pPr>
            <a:r>
              <a:rPr lang="en-US" sz="14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OCC, Bank Supervision Process—Comptroller’s Handbook</a:t>
            </a:r>
            <a:endParaRPr lang="en-GB" sz="1400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5170596"/>
              </p:ext>
            </p:extLst>
          </p:nvPr>
        </p:nvGraphicFramePr>
        <p:xfrm>
          <a:off x="4038599" y="2272706"/>
          <a:ext cx="4762495" cy="33032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4816"/>
                <a:gridCol w="521097"/>
                <a:gridCol w="521097"/>
                <a:gridCol w="521097"/>
                <a:gridCol w="521097"/>
                <a:gridCol w="521097"/>
                <a:gridCol w="521097"/>
                <a:gridCol w="521097"/>
              </a:tblGrid>
              <a:tr h="0">
                <a:tc gridSpan="8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ntitative metric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GB" sz="10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GB" sz="10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GB" sz="1000" b="1" i="0" u="non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 RAS</a:t>
                      </a:r>
                      <a:endParaRPr lang="en-GB" sz="1000" b="1" i="0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up</a:t>
                      </a:r>
                      <a:endParaRPr lang="en-GB" sz="10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GB" sz="10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GB" sz="10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endParaRPr lang="en-GB" sz="10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*</a:t>
                      </a:r>
                      <a:endParaRPr lang="en-GB" sz="10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I Miami</a:t>
                      </a:r>
                      <a:endParaRPr lang="en-GB" sz="10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S</a:t>
                      </a:r>
                      <a:endParaRPr lang="en-GB" sz="10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12184">
                <a:tc>
                  <a:txBody>
                    <a:bodyPr/>
                    <a:lstStyle/>
                    <a:p>
                      <a:r>
                        <a:rPr lang="en-GB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NR</a:t>
                      </a:r>
                      <a:r>
                        <a:rPr lang="en-GB" sz="11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mpairment</a:t>
                      </a:r>
                      <a:endParaRPr lang="en-GB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</a:t>
                      </a:r>
                      <a:endParaRPr lang="en-GB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41A44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  <a:endParaRPr lang="en-GB" sz="1400" dirty="0">
                        <a:solidFill>
                          <a:srgbClr val="41A44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41A44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  <a:endParaRPr lang="en-GB" sz="1400" dirty="0">
                        <a:solidFill>
                          <a:srgbClr val="41A44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41A44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  <a:endParaRPr lang="en-GB" sz="1400" dirty="0">
                        <a:solidFill>
                          <a:srgbClr val="41A44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41A44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  <a:endParaRPr lang="en-GB" sz="1400" dirty="0">
                        <a:solidFill>
                          <a:srgbClr val="41A44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41A44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  <a:endParaRPr lang="en-GB" sz="1400" dirty="0">
                        <a:solidFill>
                          <a:srgbClr val="41A44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41A44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  <a:endParaRPr lang="en-GB" sz="1400" dirty="0">
                        <a:solidFill>
                          <a:srgbClr val="41A44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10969">
                <a:tc>
                  <a:txBody>
                    <a:bodyPr/>
                    <a:lstStyle/>
                    <a:p>
                      <a:r>
                        <a:rPr lang="en-GB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ss in stress</a:t>
                      </a:r>
                      <a:endParaRPr lang="en-GB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41A44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  <a:endParaRPr lang="en-GB" sz="1400" dirty="0">
                        <a:solidFill>
                          <a:srgbClr val="41A44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41A44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  <a:endParaRPr lang="en-GB" sz="1400" dirty="0">
                        <a:solidFill>
                          <a:srgbClr val="41A44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</a:t>
                      </a:r>
                      <a:endParaRPr lang="en-GB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</a:t>
                      </a:r>
                      <a:endParaRPr lang="en-GB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</a:t>
                      </a:r>
                      <a:endParaRPr lang="en-GB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</a:t>
                      </a:r>
                      <a:endParaRPr lang="en-GB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</a:t>
                      </a:r>
                      <a:endParaRPr lang="en-GB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0969">
                <a:tc>
                  <a:txBody>
                    <a:bodyPr/>
                    <a:lstStyle/>
                    <a:p>
                      <a:r>
                        <a:rPr lang="en-GB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USA</a:t>
                      </a:r>
                      <a:r>
                        <a:rPr lang="en-GB" sz="11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WA</a:t>
                      </a:r>
                      <a:endParaRPr lang="en-GB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41A44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  <a:endParaRPr lang="en-GB" sz="1400" dirty="0">
                        <a:solidFill>
                          <a:srgbClr val="41A44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41A44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  <a:endParaRPr lang="en-GB" sz="1400" dirty="0">
                        <a:solidFill>
                          <a:srgbClr val="41A44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</a:t>
                      </a:r>
                      <a:endParaRPr lang="en-GB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</a:t>
                      </a:r>
                      <a:endParaRPr lang="en-GB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</a:t>
                      </a:r>
                      <a:endParaRPr lang="en-GB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</a:t>
                      </a:r>
                      <a:endParaRPr lang="en-GB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</a:t>
                      </a:r>
                      <a:endParaRPr lang="en-GB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85397">
                <a:tc>
                  <a:txBody>
                    <a:bodyPr/>
                    <a:lstStyle/>
                    <a:p>
                      <a:r>
                        <a:rPr lang="en-GB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subprime</a:t>
                      </a:r>
                      <a:r>
                        <a:rPr lang="en-GB" sz="11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SHUSA credit exposure</a:t>
                      </a:r>
                      <a:endParaRPr lang="en-GB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41A44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  <a:endParaRPr lang="en-GB" sz="1400" dirty="0">
                        <a:solidFill>
                          <a:srgbClr val="41A44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41A44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  <a:endParaRPr lang="en-GB" sz="1400" dirty="0">
                        <a:solidFill>
                          <a:srgbClr val="41A44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</a:t>
                      </a:r>
                      <a:endParaRPr lang="en-GB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41A44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  <a:endParaRPr lang="en-GB" sz="1400" dirty="0">
                        <a:solidFill>
                          <a:srgbClr val="41A44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</a:t>
                      </a:r>
                      <a:endParaRPr lang="en-GB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</a:t>
                      </a:r>
                      <a:endParaRPr lang="en-GB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</a:t>
                      </a:r>
                      <a:endParaRPr lang="en-GB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69970">
                <a:tc>
                  <a:txBody>
                    <a:bodyPr/>
                    <a:lstStyle/>
                    <a:p>
                      <a:r>
                        <a:rPr lang="en-GB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exposure</a:t>
                      </a:r>
                      <a:r>
                        <a:rPr lang="en-GB" sz="11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AuM</a:t>
                      </a:r>
                      <a:endParaRPr lang="en-GB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</a:t>
                      </a:r>
                      <a:endParaRPr lang="en-GB" sz="10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41A44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  <a:endParaRPr lang="en-GB" sz="1400" dirty="0">
                        <a:solidFill>
                          <a:srgbClr val="41A44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</a:t>
                      </a:r>
                      <a:endParaRPr lang="en-GB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</a:t>
                      </a:r>
                      <a:endParaRPr lang="en-GB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</a:t>
                      </a:r>
                      <a:endParaRPr lang="en-GB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41A44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  <a:endParaRPr lang="en-GB" sz="1400" dirty="0">
                        <a:solidFill>
                          <a:srgbClr val="41A44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/>
                        </a:rPr>
                        <a:t></a:t>
                      </a:r>
                      <a:endParaRPr lang="en-GB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9114850"/>
              </p:ext>
            </p:extLst>
          </p:nvPr>
        </p:nvGraphicFramePr>
        <p:xfrm>
          <a:off x="331791" y="2272706"/>
          <a:ext cx="3182934" cy="3535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2934"/>
              </a:tblGrid>
              <a:tr h="805239">
                <a:tc>
                  <a:txBody>
                    <a:bodyPr/>
                    <a:lstStyle/>
                    <a:p>
                      <a:pPr marL="0" indent="0" algn="l">
                        <a:spcAft>
                          <a:spcPts val="4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litative statements</a:t>
                      </a:r>
                    </a:p>
                    <a:p>
                      <a:pPr marL="0" indent="0" algn="l">
                        <a:spcAft>
                          <a:spcPts val="400"/>
                        </a:spcAft>
                        <a:buFont typeface="Arial" panose="020B0604020202020204" pitchFamily="34" charset="0"/>
                        <a:buNone/>
                      </a:pPr>
                      <a:endParaRPr lang="en-US" sz="12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l">
                        <a:spcAft>
                          <a:spcPts val="4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0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will…</a:t>
                      </a:r>
                    </a:p>
                    <a:p>
                      <a:pPr marL="228600" indent="-228600" algn="l">
                        <a:spcAft>
                          <a:spcPts val="4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ive to deliver </a:t>
                      </a:r>
                      <a:r>
                        <a:rPr lang="en-US" sz="1200" b="1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tant performance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rough pragmatic risk-taking</a:t>
                      </a:r>
                    </a:p>
                    <a:p>
                      <a:pPr marL="228600" indent="-228600" algn="l">
                        <a:spcAft>
                          <a:spcPts val="4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place </a:t>
                      </a:r>
                      <a:r>
                        <a:rPr lang="en-US" sz="1200" b="1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 undue amount of earnings or capital at risk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 an entity of its size, complexity, and risk profile in any stress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cenario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28600" indent="-228600" algn="l">
                        <a:spcAft>
                          <a:spcPts val="4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sure  that </a:t>
                      </a:r>
                      <a:r>
                        <a:rPr lang="en-US" sz="1200" b="1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equate governance and oversight processes and controls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e in place for all business activities, products, and services</a:t>
                      </a:r>
                    </a:p>
                    <a:p>
                      <a:pPr marL="228600" indent="-228600" algn="l">
                        <a:spcAft>
                          <a:spcPts val="400"/>
                        </a:spcAft>
                        <a:buFont typeface="+mj-lt"/>
                        <a:buAutoNum type="arabicPeriod"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ider and work with </a:t>
                      </a:r>
                      <a:r>
                        <a:rPr lang="en-US" sz="12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</a:t>
                      </a:r>
                      <a:r>
                        <a:rPr lang="en-US" sz="1200" b="1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 appetite setting, capital planning, and recovery and resolution planning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ocesses</a:t>
                      </a:r>
                      <a:r>
                        <a:rPr lang="en-US" sz="1200" b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330838" y="6144076"/>
            <a:ext cx="379462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dirty="0" smtClean="0"/>
              <a:t>1. Recovery and resolution planning process is not applicable to BSPR</a:t>
            </a:r>
            <a:endParaRPr lang="en-GB" sz="900" dirty="0"/>
          </a:p>
        </p:txBody>
      </p:sp>
      <p:sp>
        <p:nvSpPr>
          <p:cNvPr id="9" name="TextBox 8"/>
          <p:cNvSpPr txBox="1"/>
          <p:nvPr/>
        </p:nvSpPr>
        <p:spPr>
          <a:xfrm>
            <a:off x="7981639" y="5642870"/>
            <a:ext cx="8194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i="1" dirty="0" smtClean="0"/>
              <a:t>* IHC only</a:t>
            </a:r>
            <a:endParaRPr lang="en-GB" sz="1100" i="1" dirty="0"/>
          </a:p>
        </p:txBody>
      </p:sp>
    </p:spTree>
    <p:extLst>
      <p:ext uri="{BB962C8B-B14F-4D97-AF65-F5344CB8AC3E}">
        <p14:creationId xmlns:p14="http://schemas.microsoft.com/office/powerpoint/2010/main" val="510864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4000" y="248488"/>
            <a:ext cx="889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Potential methods for tracking for strategic risk</a:t>
            </a:r>
            <a:endParaRPr lang="en-US" sz="2000" b="1" dirty="0"/>
          </a:p>
        </p:txBody>
      </p:sp>
      <p:graphicFrame>
        <p:nvGraphicFramePr>
          <p:cNvPr id="3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15226255"/>
              </p:ext>
            </p:extLst>
          </p:nvPr>
        </p:nvGraphicFramePr>
        <p:xfrm>
          <a:off x="393696" y="1100588"/>
          <a:ext cx="8407403" cy="3344450"/>
        </p:xfrm>
        <a:graphic>
          <a:graphicData uri="http://schemas.openxmlformats.org/drawingml/2006/table">
            <a:tbl>
              <a:tblPr firstRow="1" bandRow="1"/>
              <a:tblGrid>
                <a:gridCol w="2131790"/>
                <a:gridCol w="2122714"/>
                <a:gridCol w="4152899"/>
              </a:tblGrid>
              <a:tr h="299759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ntifying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</a:t>
                      </a:r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tegic risk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mple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ents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99598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-resiliency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NR impairmen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ss</a:t>
                      </a:r>
                      <a:r>
                        <a:rPr lang="en-GB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 stress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1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gacy and new metrics requested by Group – are these truly strategic risk indicators?</a:t>
                      </a:r>
                      <a:endParaRPr lang="en-GB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49477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centration metrics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USA subprime assets / SHUSA credit exposure (%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exposure</a:t>
                      </a:r>
                      <a:r>
                        <a:rPr lang="en-GB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AuM</a:t>
                      </a:r>
                      <a:endParaRPr lang="en-GB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200" dirty="0" smtClean="0">
                        <a:solidFill>
                          <a:schemeClr val="bg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81517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her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</a:t>
                      </a:r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tal metrics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1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stream dividends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1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de</a:t>
                      </a:r>
                      <a:r>
                        <a:rPr lang="en-GB" sz="11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binary view of Entity ability to upstream cash flows (based on revenue streams and/or regulatory approval)</a:t>
                      </a:r>
                      <a:endParaRPr lang="en-GB" sz="11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81517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-based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spend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dget tracking</a:t>
                      </a:r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1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 link to  the strategic</a:t>
                      </a:r>
                      <a:r>
                        <a:rPr lang="en-GB" sz="11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lan and progress against it</a:t>
                      </a:r>
                      <a:endParaRPr lang="en-GB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66291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rm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atings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1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bt ratings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1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ternal assessment of internal performance; potentially duplicative of long term credit ratings currently reported to </a:t>
                      </a:r>
                      <a:r>
                        <a:rPr lang="en-GB" sz="1100" b="0" i="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D</a:t>
                      </a:r>
                      <a:endParaRPr lang="en-GB" sz="11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66291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ternal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croeconomic</a:t>
                      </a:r>
                      <a:r>
                        <a:rPr lang="en-GB" sz="11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actor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DS spreads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1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 relevant to strategic</a:t>
                      </a:r>
                      <a:r>
                        <a:rPr lang="en-GB" sz="11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lan and not applicable to internal accountability </a:t>
                      </a:r>
                      <a:endParaRPr lang="en-GB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4664590"/>
              </p:ext>
            </p:extLst>
          </p:nvPr>
        </p:nvGraphicFramePr>
        <p:xfrm>
          <a:off x="7663542" y="1078816"/>
          <a:ext cx="1137557" cy="243840"/>
        </p:xfrm>
        <a:graphic>
          <a:graphicData uri="http://schemas.openxmlformats.org/drawingml/2006/table">
            <a:tbl>
              <a:tblPr firstRow="1" bandRow="1"/>
              <a:tblGrid>
                <a:gridCol w="1137557"/>
              </a:tblGrid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GB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rrent metrics</a:t>
                      </a:r>
                      <a:endParaRPr lang="en-GB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Conclusion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3253334"/>
              </p:ext>
            </p:extLst>
          </p:nvPr>
        </p:nvGraphicFramePr>
        <p:xfrm>
          <a:off x="331788" y="5298097"/>
          <a:ext cx="8469312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9312"/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kumimoji="0" lang="en-GB" sz="1800" b="0" i="0" u="none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+mj-lt"/>
                        </a:rPr>
                        <a:t>What is the goal of the strategic risk metrics? How are they differentiated from the goals of strategic planning and Finance? Would this be best captured in a qualitative assessment?</a:t>
                      </a:r>
                      <a:endParaRPr kumimoji="0" lang="en-GB" sz="1800" b="0" i="0" u="none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+mj-lt"/>
                      </a:endParaRPr>
                    </a:p>
                  </a:txBody>
                  <a:tcPr anchor="b">
                    <a:lnL w="12700" cmpd="sng">
                      <a:solidFill>
                        <a:schemeClr val="lt1"/>
                      </a:solidFill>
                    </a:lnL>
                    <a:lnR w="12700" cmpd="sng">
                      <a:solidFill>
                        <a:schemeClr val="lt1"/>
                      </a:solidFill>
                    </a:lnR>
                    <a:lnT w="9525" cmpd="sng">
                      <a:solidFill>
                        <a:schemeClr val="accent4"/>
                      </a:solidFill>
                    </a:lnT>
                    <a:lnB w="9525" cmpd="sng">
                      <a:solidFill>
                        <a:schemeClr val="accent4"/>
                      </a:solidFill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3894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/&gt;&lt;m_precDefaultPercent/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zu9Uvyw0m6Q2m7B4cAe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knuKeuDEW02QPT7O2t_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Tmhso95UazvIKPZmJYR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1yLhCrUa6.RfaMTkM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f44vb.lEa7cAunwDLN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jA6kuhUasugS1.RVfk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6LtEEoDUKewDXakWhG3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Pm1In0RkqzZrLS7ra0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HaIDe5OUqAqVGUzQ3G.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FFyzw2jkqod6KExQ_N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IpcrrTiECeNQ1pgI3H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7MboalsUGhsMW17jYl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5.J8qM_0qBrjrvQEskc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fVP1N2c0Cdwzb8g5nK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Dr4i8idEGCZbOrNZIb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CPKZIUPkOgWTmG_vjbM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liMuggvUe1Hjvw3Wa3e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c7bVwYZkSle8Cchx_rt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I54OxGRkyoqObKW1_KN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jK1ca7lky8c7aZG2Ma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E26nlCmEShYeQBA8_Iu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uVDysSyEGGJIbcZ_vGe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0c2V.NFk2o7RwzBXgtE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QIz0is9k6u62F76qqV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W4bUYc6ECF9vTi1Zb7c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P3DNpASESUGqREkSbAA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6mewmQCUu18QZcNmzc1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Yw2TqIRU2R_yVg5b5F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B0XxxSRECkHTNGAgqrj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W3ub1ffUWXxye0PDPZ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Q2tsGfBkyWIoc7tKSlG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yFYIBn1U.w8JjXSVCF.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ZB05NXzU.yxRLEppwyb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6S1cuv5Ea1I38Dih5G_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hrVIr06EKo4HSRkI9yl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LkQOh670GMtYDHL2_kj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A_.j5l2kSTziKMHqKr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pAtFAPjku5_RY0HVymb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oZfvTk6UySslAK56dnk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OyDYs3b0u8X.sDpkiUu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oMV7s0aECgPIppDTIx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CD.dpXEEq4xQidpG_f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9DSRftFEG6EsEa5eweC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RsIOvuJ0KvsvZbNuDwv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8JMIFOOkyMd7TEPCU0C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_S2._NmUq8WC_OS309X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L.n0.gJkOJ5pmcvzdLs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kzQa_kkE2TISdOgylpC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O7XcDzlkm9BBChIgr1N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oB3xLm10G57xREvrVZa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XpnW0.EEarF2uJIrR4q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3zJg.mR02N3zfh64S8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DuNw8.VE6iGqdUq6KxT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GFnDZMY0G9Sk05VLd5y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MtOnG5h0mZWnBQkSjXM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kDVPSjo0iTC.tGH4wLb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Vun7VIeUSBhp9M7D_Utg"/>
</p:tagLst>
</file>

<file path=ppt/theme/theme1.xml><?xml version="1.0" encoding="utf-8"?>
<a:theme xmlns:a="http://schemas.openxmlformats.org/drawingml/2006/main" name="Body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75</TotalTime>
  <Words>1487</Words>
  <Application>Microsoft Office PowerPoint</Application>
  <PresentationFormat>On-screen Show (4:3)</PresentationFormat>
  <Paragraphs>320</Paragraphs>
  <Slides>1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4" baseType="lpstr">
      <vt:lpstr>Body Slide</vt:lpstr>
      <vt:lpstr>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schineau, Patricia</dc:creator>
  <cp:lastModifiedBy>Schade, Katherine</cp:lastModifiedBy>
  <cp:revision>170</cp:revision>
  <cp:lastPrinted>2015-11-09T17:30:52Z</cp:lastPrinted>
  <dcterms:modified xsi:type="dcterms:W3CDTF">2016-03-30T22:53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MSOLanguageID">
    <vt:lpwstr>msoLanguageIDEnglishUK</vt:lpwstr>
  </property>
</Properties>
</file>